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94" r:id="rId4"/>
  </p:sldMasterIdLst>
  <p:notesMasterIdLst>
    <p:notesMasterId r:id="rId10"/>
  </p:notesMasterIdLst>
  <p:sldIdLst>
    <p:sldId id="2134805458" r:id="rId5"/>
    <p:sldId id="3085" r:id="rId6"/>
    <p:sldId id="3030" r:id="rId7"/>
    <p:sldId id="3086" r:id="rId8"/>
    <p:sldId id="3082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398A0DB4-02F8-4249-8770-A4B86C3D3E72}">
          <p14:sldIdLst>
            <p14:sldId id="2134805458"/>
            <p14:sldId id="3085"/>
            <p14:sldId id="3030"/>
            <p14:sldId id="3086"/>
            <p14:sldId id="3082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080"/>
    <a:srgbClr val="4B4B4B"/>
    <a:srgbClr val="F3F2F1"/>
    <a:srgbClr val="737373"/>
    <a:srgbClr val="B10034"/>
    <a:srgbClr val="2D89CC"/>
    <a:srgbClr val="F18700"/>
    <a:srgbClr val="009260"/>
    <a:srgbClr val="5F5F5F"/>
    <a:srgbClr val="006D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4CB96B6-374F-6A90-DE5D-1FE8786A806E}" v="271" dt="2023-07-11T11:28:49.065"/>
    <p1510:client id="{1DF19BE0-71F3-44BB-B1DE-0A750F8F3B1B}" v="22" dt="2023-07-03T08:41:39.943"/>
    <p1510:client id="{B7389622-570D-2E73-BA8E-E3A6CB2556C3}" v="3" dt="2023-07-03T07:31:51.533"/>
    <p1510:client id="{E2249FD2-83B0-5C58-FB0B-AF2D73D10962}" v="1" dt="2023-08-22T13:31:23.677"/>
    <p1510:client id="{F7B9441A-8797-BCFA-C3AB-58AF8CABB829}" v="48" dt="2023-07-11T12:28:03.3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10" d="100"/>
          <a:sy n="110" d="100"/>
        </p:scale>
        <p:origin x="108" y="342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tx2"/>
            </a:solidFill>
          </c:spPr>
          <c:dPt>
            <c:idx val="0"/>
            <c:bubble3D val="0"/>
            <c:spPr>
              <a:solidFill>
                <a:srgbClr val="C0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E17-4B53-8A26-F727180CC91F}"/>
              </c:ext>
            </c:extLst>
          </c:dPt>
          <c:dPt>
            <c:idx val="1"/>
            <c:bubble3D val="0"/>
            <c:spPr>
              <a:solidFill>
                <a:srgbClr val="009D6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E17-4B53-8A26-F727180CC91F}"/>
              </c:ext>
            </c:extLst>
          </c:dPt>
          <c:cat>
            <c:strRef>
              <c:f>Sheet1!$A$2:$A$3</c:f>
              <c:strCache>
                <c:ptCount val="2"/>
                <c:pt idx="0">
                  <c:v>Men</c:v>
                </c:pt>
                <c:pt idx="1">
                  <c:v>Women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</c:v>
                </c:pt>
                <c:pt idx="1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E17-4B53-8A26-F727180CC9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tx2"/>
            </a:solidFill>
          </c:spPr>
          <c:dPt>
            <c:idx val="0"/>
            <c:bubble3D val="0"/>
            <c:spPr>
              <a:solidFill>
                <a:srgbClr val="C0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334-41C6-8CE1-5A610CB47508}"/>
              </c:ext>
            </c:extLst>
          </c:dPt>
          <c:dPt>
            <c:idx val="1"/>
            <c:bubble3D val="0"/>
            <c:spPr>
              <a:solidFill>
                <a:srgbClr val="009D6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334-41C6-8CE1-5A610CB47508}"/>
              </c:ext>
            </c:extLst>
          </c:dPt>
          <c:cat>
            <c:strRef>
              <c:f>Sheet1!$A$2:$A$3</c:f>
              <c:strCache>
                <c:ptCount val="2"/>
                <c:pt idx="0">
                  <c:v>Men</c:v>
                </c:pt>
                <c:pt idx="1">
                  <c:v>Women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</c:v>
                </c:pt>
                <c:pt idx="1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334-41C6-8CE1-5A610CB475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</c:spPr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886-4199-84E5-0F86D5B229CE}"/>
              </c:ext>
            </c:extLst>
          </c:dPt>
          <c:dPt>
            <c:idx val="1"/>
            <c:bubble3D val="0"/>
            <c:spPr>
              <a:solidFill>
                <a:schemeClr val="bg2">
                  <a:lumMod val="9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886-4199-84E5-0F86D5B229CE}"/>
              </c:ext>
            </c:extLst>
          </c:dPt>
          <c:cat>
            <c:strRef>
              <c:f>Sheet1!$A$2:$A$3</c:f>
              <c:strCache>
                <c:ptCount val="2"/>
                <c:pt idx="0">
                  <c:v>Men</c:v>
                </c:pt>
                <c:pt idx="1">
                  <c:v>Women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</c:v>
                </c:pt>
                <c:pt idx="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886-4199-84E5-0F86D5B229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</c:spPr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DC8-448F-8803-E95759AEF854}"/>
              </c:ext>
            </c:extLst>
          </c:dPt>
          <c:dPt>
            <c:idx val="1"/>
            <c:bubble3D val="0"/>
            <c:spPr>
              <a:solidFill>
                <a:schemeClr val="bg2">
                  <a:lumMod val="9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DC8-448F-8803-E95759AEF854}"/>
              </c:ext>
            </c:extLst>
          </c:dPt>
          <c:cat>
            <c:strRef>
              <c:f>Sheet1!$A$2:$A$3</c:f>
              <c:strCache>
                <c:ptCount val="2"/>
                <c:pt idx="0">
                  <c:v>Men</c:v>
                </c:pt>
                <c:pt idx="1">
                  <c:v>Women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</c:v>
                </c:pt>
                <c:pt idx="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DC8-448F-8803-E95759AEF8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</c:spPr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E1-45B4-B92C-334A5532C231}"/>
              </c:ext>
            </c:extLst>
          </c:dPt>
          <c:dPt>
            <c:idx val="1"/>
            <c:bubble3D val="0"/>
            <c:spPr>
              <a:solidFill>
                <a:schemeClr val="bg2">
                  <a:lumMod val="9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E1-45B4-B92C-334A5532C231}"/>
              </c:ext>
            </c:extLst>
          </c:dPt>
          <c:cat>
            <c:strRef>
              <c:f>Sheet1!$A$2:$A$3</c:f>
              <c:strCache>
                <c:ptCount val="2"/>
                <c:pt idx="0">
                  <c:v>Men</c:v>
                </c:pt>
                <c:pt idx="1">
                  <c:v>Women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</c:v>
                </c:pt>
                <c:pt idx="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4E1-45B4-B92C-334A5532C2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531E23-3671-4EB1-A929-4F2D23AD3768}" type="datetimeFigureOut">
              <a:rPr lang="en-US" smtClean="0"/>
              <a:t>2/14/202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235E42-08C2-4B51-8226-949D8765D5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6110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irtschaftsinformatik.fraunhofer.de/" TargetMode="External"/><Relationship Id="rId2" Type="http://schemas.openxmlformats.org/officeDocument/2006/relationships/hyperlink" Target="http://www.fim-rc.de/" TargetMode="Externa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.gif"/><Relationship Id="rId4" Type="http://schemas.openxmlformats.org/officeDocument/2006/relationships/image" Target="../media/image2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beliebige*r Vortragende*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E8B9819-F136-4869-839D-BB089F223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8555" y="1397592"/>
            <a:ext cx="7092583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de-DE"/>
              <a:t>Beliebige*r Vortragende*r</a:t>
            </a:r>
            <a:br>
              <a:rPr lang="de-DE"/>
            </a:br>
            <a:r>
              <a:rPr lang="de-DE"/>
              <a:t>Zweite Zeile Ipsum</a:t>
            </a:r>
            <a:endParaRPr lang="en-US"/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7CB5CBC7-4143-4DEA-8809-9B114E002A77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548557" y="2385194"/>
            <a:ext cx="7092583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4B4B4B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600" b="0">
                <a:solidFill>
                  <a:srgbClr val="4B4B4B"/>
                </a:solidFill>
              </a:rPr>
              <a:t>ABBA – AI </a:t>
            </a:r>
            <a:r>
              <a:rPr lang="de-DE" sz="1600" b="0" err="1">
                <a:solidFill>
                  <a:srgbClr val="4B4B4B"/>
                </a:solidFill>
              </a:rPr>
              <a:t>for</a:t>
            </a:r>
            <a:r>
              <a:rPr lang="de-DE" sz="1600" b="0">
                <a:solidFill>
                  <a:srgbClr val="4B4B4B"/>
                </a:solidFill>
              </a:rPr>
              <a:t> Business I Business </a:t>
            </a:r>
            <a:r>
              <a:rPr lang="de-DE" sz="1600" b="0" err="1">
                <a:solidFill>
                  <a:srgbClr val="4B4B4B"/>
                </a:solidFill>
              </a:rPr>
              <a:t>for</a:t>
            </a:r>
            <a:r>
              <a:rPr lang="de-DE" sz="1600" b="0">
                <a:solidFill>
                  <a:srgbClr val="4B4B4B"/>
                </a:solidFill>
              </a:rPr>
              <a:t> AI </a:t>
            </a:r>
          </a:p>
          <a:p>
            <a:pPr lvl="0"/>
            <a:endParaRPr lang="en-US"/>
          </a:p>
        </p:txBody>
      </p: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19B33EA7-9CE8-493B-9082-0F747F82D6A2}"/>
              </a:ext>
            </a:extLst>
          </p:cNvPr>
          <p:cNvCxnSpPr>
            <a:cxnSpLocks/>
          </p:cNvCxnSpPr>
          <p:nvPr userDrawn="1"/>
        </p:nvCxnSpPr>
        <p:spPr>
          <a:xfrm>
            <a:off x="4548555" y="1238116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138" name="Gerader Verbinder 137">
            <a:extLst>
              <a:ext uri="{FF2B5EF4-FFF2-40B4-BE49-F238E27FC236}">
                <a16:creationId xmlns:a16="http://schemas.microsoft.com/office/drawing/2014/main" id="{0A45966A-13AC-43DE-93A7-08E0DE51F97A}"/>
              </a:ext>
            </a:extLst>
          </p:cNvPr>
          <p:cNvCxnSpPr>
            <a:cxnSpLocks/>
          </p:cNvCxnSpPr>
          <p:nvPr userDrawn="1"/>
        </p:nvCxnSpPr>
        <p:spPr>
          <a:xfrm>
            <a:off x="4548554" y="1238116"/>
            <a:ext cx="709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platzhalter 38">
            <a:extLst>
              <a:ext uri="{FF2B5EF4-FFF2-40B4-BE49-F238E27FC236}">
                <a16:creationId xmlns:a16="http://schemas.microsoft.com/office/drawing/2014/main" id="{86DF2652-0633-451E-ACFC-CBD7DD3682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48555" y="3045600"/>
            <a:ext cx="7092583" cy="27535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4B4B4B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err="1"/>
              <a:t>Titel</a:t>
            </a:r>
            <a:r>
              <a:rPr lang="en-US"/>
              <a:t> und Name der/des </a:t>
            </a:r>
            <a:r>
              <a:rPr lang="en-US" err="1"/>
              <a:t>Vortragenden</a:t>
            </a:r>
            <a:endParaRPr lang="en-US"/>
          </a:p>
          <a:p>
            <a:pPr lvl="0"/>
            <a:endParaRPr lang="en-US"/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de-DE" sz="1200" b="0">
              <a:solidFill>
                <a:srgbClr val="4B4B4B"/>
              </a:solidFill>
            </a:endParaRP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68A2D0A4-929C-4059-BBE7-4297BFE74BDA}"/>
              </a:ext>
            </a:extLst>
          </p:cNvPr>
          <p:cNvSpPr txBox="1"/>
          <p:nvPr userDrawn="1"/>
        </p:nvSpPr>
        <p:spPr>
          <a:xfrm>
            <a:off x="4548554" y="3408288"/>
            <a:ext cx="7106424" cy="236049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de-DE" sz="1200" b="0" dirty="0">
              <a:solidFill>
                <a:srgbClr val="4B4B4B"/>
              </a:solidFill>
            </a:endParaRP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University </a:t>
            </a:r>
            <a:r>
              <a:rPr lang="de-DE" sz="1200" b="0" dirty="0" err="1">
                <a:solidFill>
                  <a:srgbClr val="4B4B4B"/>
                </a:solidFill>
              </a:rPr>
              <a:t>of</a:t>
            </a:r>
            <a:r>
              <a:rPr lang="de-DE" sz="1200" b="0" dirty="0">
                <a:solidFill>
                  <a:srgbClr val="4B4B4B"/>
                </a:solidFill>
              </a:rPr>
              <a:t> Hohenheim, Stuttgart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Karlsruher Institute </a:t>
            </a:r>
            <a:r>
              <a:rPr lang="de-DE" sz="1200" b="0" dirty="0" err="1">
                <a:solidFill>
                  <a:srgbClr val="4B4B4B"/>
                </a:solidFill>
              </a:rPr>
              <a:t>for</a:t>
            </a:r>
            <a:r>
              <a:rPr lang="de-DE" sz="1200" b="0" dirty="0">
                <a:solidFill>
                  <a:srgbClr val="4B4B4B"/>
                </a:solidFill>
              </a:rPr>
              <a:t> Technology, Karlsruhe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University </a:t>
            </a:r>
            <a:r>
              <a:rPr lang="de-DE" sz="1200" b="0" dirty="0" err="1">
                <a:solidFill>
                  <a:srgbClr val="4B4B4B"/>
                </a:solidFill>
              </a:rPr>
              <a:t>of</a:t>
            </a:r>
            <a:r>
              <a:rPr lang="de-DE" sz="1200" b="0" dirty="0">
                <a:solidFill>
                  <a:srgbClr val="4B4B4B"/>
                </a:solidFill>
              </a:rPr>
              <a:t> Bayreuth, Bayreuth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Frankfurt University </a:t>
            </a:r>
            <a:r>
              <a:rPr lang="de-DE" sz="1200" b="0" dirty="0" err="1">
                <a:solidFill>
                  <a:srgbClr val="4B4B4B"/>
                </a:solidFill>
              </a:rPr>
              <a:t>of</a:t>
            </a:r>
            <a:r>
              <a:rPr lang="de-DE" sz="1200" b="0" dirty="0">
                <a:solidFill>
                  <a:srgbClr val="4B4B4B"/>
                </a:solidFill>
              </a:rPr>
              <a:t> Applied Science, Frankfurt </a:t>
            </a:r>
          </a:p>
          <a:p>
            <a:pPr marL="0" indent="0" algn="l">
              <a:buNone/>
            </a:pPr>
            <a:endParaRPr lang="de-DE" dirty="0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EDB59ADC-D240-4941-9DD5-203A92C371F5}"/>
              </a:ext>
            </a:extLst>
          </p:cNvPr>
          <p:cNvSpPr txBox="1"/>
          <p:nvPr userDrawn="1"/>
        </p:nvSpPr>
        <p:spPr>
          <a:xfrm>
            <a:off x="4548554" y="6084000"/>
            <a:ext cx="3364380" cy="365668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lvl="0"/>
            <a:endParaRPr lang="de-DE" sz="1400">
              <a:solidFill>
                <a:schemeClr val="tx2"/>
              </a:solidFill>
            </a:endParaRPr>
          </a:p>
        </p:txBody>
      </p:sp>
      <p:pic>
        <p:nvPicPr>
          <p:cNvPr id="6" name="Grafik 5" descr="Ein Bild, das Text, Schiefertafel enthält.&#10;&#10;Automatisch generierte Beschreibung">
            <a:extLst>
              <a:ext uri="{FF2B5EF4-FFF2-40B4-BE49-F238E27FC236}">
                <a16:creationId xmlns:a16="http://schemas.microsoft.com/office/drawing/2014/main" id="{F1BC8438-F46A-49DE-9E12-6433272B1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618"/>
          <a:stretch/>
        </p:blipFill>
        <p:spPr>
          <a:xfrm>
            <a:off x="0" y="0"/>
            <a:ext cx="431070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0467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1E4DD5-3C38-4827-AB4F-42425E336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5C2E51-7D0B-4A4D-8DC1-79065BA72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DDD8DEB7-EECE-41B5-A699-A0C1ACDEA65A}" type="datetime1">
              <a:rPr lang="de-DE" smtClean="0"/>
              <a:t>14.02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1DBF68-B110-47AE-81D0-1A1BB377B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51D4E8B-9169-4CED-9B68-4105C736C8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0801" y="1449388"/>
            <a:ext cx="11088000" cy="44275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F3122D6-4BDB-48DE-A4AE-F43CC58711CC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Fußzeilenplatzhalter 12">
            <a:extLst>
              <a:ext uri="{FF2B5EF4-FFF2-40B4-BE49-F238E27FC236}">
                <a16:creationId xmlns:a16="http://schemas.microsoft.com/office/drawing/2014/main" id="{783AA3FD-B3F6-4BCC-A437-23D9555B64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de-DE">
                <a:solidFill>
                  <a:srgbClr val="889194"/>
                </a:solidFill>
              </a:rPr>
              <a:t>ABBA </a:t>
            </a:r>
            <a:r>
              <a:rPr lang="de-DE"/>
              <a:t>| Vortragende*r </a:t>
            </a:r>
            <a:endParaRPr lang="en-US"/>
          </a:p>
        </p:txBody>
      </p:sp>
      <p:sp>
        <p:nvSpPr>
          <p:cNvPr id="11" name="Inhaltsplatzhalter 7">
            <a:extLst>
              <a:ext uri="{FF2B5EF4-FFF2-40B4-BE49-F238E27FC236}">
                <a16:creationId xmlns:a16="http://schemas.microsoft.com/office/drawing/2014/main" id="{6422D8EC-C3CA-413D-B435-E23AABA2009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52000" y="6201000"/>
            <a:ext cx="11088000" cy="144006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915391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AA6B5-141F-44B5-A6D7-591287D259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err="1"/>
              <a:t>Inhalt_Inhalt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9A54B5-3EC0-4E62-8E65-8B53A9175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9489B-C028-491F-9223-F844E39D7CFC}" type="datetime1">
              <a:rPr lang="de-DE" smtClean="0"/>
              <a:t>14.02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86950EE-5D2D-4DBE-B2BC-428939E6E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4063" y="6584720"/>
            <a:ext cx="304800" cy="139606"/>
          </a:xfrm>
        </p:spPr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463866B-AFBB-4230-8C80-95837FE8A2E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0800" y="1449388"/>
            <a:ext cx="5315369" cy="45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CD8ACB48-ECD1-4E0E-9176-B1015FF608C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22566" y="1449388"/>
            <a:ext cx="5316297" cy="45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66560C2-5920-4C2E-BC72-15DF7369FF9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Inhaltsplatzhalter 7">
            <a:extLst>
              <a:ext uri="{FF2B5EF4-FFF2-40B4-BE49-F238E27FC236}">
                <a16:creationId xmlns:a16="http://schemas.microsoft.com/office/drawing/2014/main" id="{F58655A5-70C7-4367-AAA1-B83A6CE9116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22800" y="6201000"/>
            <a:ext cx="5315369" cy="144000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7D76AA35-8DAB-4C1E-90FE-82769E26E26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50800" y="6201481"/>
            <a:ext cx="5315369" cy="144007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4" name="Fußzeilenplatzhalter 12">
            <a:extLst>
              <a:ext uri="{FF2B5EF4-FFF2-40B4-BE49-F238E27FC236}">
                <a16:creationId xmlns:a16="http://schemas.microsoft.com/office/drawing/2014/main" id="{FC4F1D9E-2891-459E-A138-47D4E6D1BC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89194"/>
                </a:solidFill>
              </a:rPr>
              <a:t>ABBA</a:t>
            </a:r>
            <a:r>
              <a:rPr lang="de-DE">
                <a:solidFill>
                  <a:srgbClr val="8C8C8C"/>
                </a:solidFill>
              </a:rPr>
              <a:t> | Vortragende*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7969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AA6B5-141F-44B5-A6D7-591287D259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Inhalt_Bild_2/3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9A54B5-3EC0-4E62-8E65-8B53A9175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4210E-BA9E-4AAE-A02B-C8663630990C}" type="datetime1">
              <a:rPr lang="de-DE" smtClean="0"/>
              <a:t>14.02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86950EE-5D2D-4DBE-B2BC-428939E6E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4063" y="6584720"/>
            <a:ext cx="304800" cy="139606"/>
          </a:xfrm>
        </p:spPr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463866B-AFBB-4230-8C80-95837FE8A2E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0800" y="1449386"/>
            <a:ext cx="7178400" cy="45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66560C2-5920-4C2E-BC72-15DF7369FF9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DCFAE809-57E6-4701-9CEE-97722EB9BA3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82509" y="1449386"/>
            <a:ext cx="3456354" cy="4500000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 </a:t>
            </a:r>
            <a:endParaRPr lang="en-US"/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F9A99E4D-0B5F-4760-9338-D404BD1D183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182509" y="6201000"/>
            <a:ext cx="3456354" cy="144006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Bild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4" name="Inhaltsplatzhalter 7">
            <a:extLst>
              <a:ext uri="{FF2B5EF4-FFF2-40B4-BE49-F238E27FC236}">
                <a16:creationId xmlns:a16="http://schemas.microsoft.com/office/drawing/2014/main" id="{A651BD4C-A6A4-4605-B101-327106CF2B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50800" y="6201000"/>
            <a:ext cx="7178400" cy="144000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876FF18B-9FBA-49AD-932B-0F51BF1E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C8C8C"/>
                </a:solidFill>
              </a:rPr>
              <a:t>ABBA | Vortragende*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2563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entrale Aussage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1E4DD5-3C38-4827-AB4F-42425E336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5C2E51-7D0B-4A4D-8DC1-79065BA72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EE1CC6-E1D9-4ACA-B848-8CCC9A0AEA2B}" type="datetime1">
              <a:rPr lang="de-DE" smtClean="0"/>
              <a:t>14.02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1DBF68-B110-47AE-81D0-1A1BB377B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51D4E8B-9169-4CED-9B68-4105C736C8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0800" y="1449389"/>
            <a:ext cx="11088000" cy="33513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F3122D6-4BDB-48DE-A4AE-F43CC58711CC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78AF313-00DB-484C-B8F3-CA93B007BA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00" y="5265138"/>
            <a:ext cx="11088000" cy="936625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43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F8754C95-D129-476E-91CD-21BBFE8673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00" y="5265138"/>
            <a:ext cx="232507" cy="936625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F2DD5413-F8F9-4B27-8EAE-532F4873EA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0801" y="4961418"/>
            <a:ext cx="11088000" cy="144000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Lorem ipsum dolor sit amet</a:t>
            </a:r>
          </a:p>
        </p:txBody>
      </p:sp>
      <p:sp>
        <p:nvSpPr>
          <p:cNvPr id="14" name="Fußzeilenplatzhalter 12">
            <a:extLst>
              <a:ext uri="{FF2B5EF4-FFF2-40B4-BE49-F238E27FC236}">
                <a16:creationId xmlns:a16="http://schemas.microsoft.com/office/drawing/2014/main" id="{7874AAE9-7808-455B-867F-10BC79D57A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89194"/>
                </a:solidFill>
              </a:rPr>
              <a:t>ABBA </a:t>
            </a:r>
            <a:r>
              <a:rPr lang="de-DE">
                <a:solidFill>
                  <a:srgbClr val="8C8C8C"/>
                </a:solidFill>
              </a:rPr>
              <a:t>| Vortragende*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7069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entrale Aussage_Zweispaltig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1E4DD5-3C38-4827-AB4F-42425E336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5C2E51-7D0B-4A4D-8DC1-79065BA72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5035A-49E1-4B84-B8D7-F3EFDA503BB2}" type="datetime1">
              <a:rPr lang="de-DE" smtClean="0"/>
              <a:t>14.02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1DBF68-B110-47AE-81D0-1A1BB377B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51D4E8B-9169-4CED-9B68-4105C736C8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0800" y="1449389"/>
            <a:ext cx="5316412" cy="33513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F3122D6-4BDB-48DE-A4AE-F43CC58711CC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78AF313-00DB-484C-B8F3-CA93B007BA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00" y="5265138"/>
            <a:ext cx="11088000" cy="936625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43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1" name="Inhaltsplatzhalter 8">
            <a:extLst>
              <a:ext uri="{FF2B5EF4-FFF2-40B4-BE49-F238E27FC236}">
                <a16:creationId xmlns:a16="http://schemas.microsoft.com/office/drawing/2014/main" id="{E2DF239D-7090-482E-8513-8A5EA2BAF96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321184" y="1449389"/>
            <a:ext cx="5317616" cy="33513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70A423CE-1ED4-49EE-B700-5F9E1A15610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00" y="5265138"/>
            <a:ext cx="232507" cy="936625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" name="Inhaltsplatzhalter 7">
            <a:extLst>
              <a:ext uri="{FF2B5EF4-FFF2-40B4-BE49-F238E27FC236}">
                <a16:creationId xmlns:a16="http://schemas.microsoft.com/office/drawing/2014/main" id="{62E0870A-1650-47DB-9E5F-C4C693A08F76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3431" y="4960917"/>
            <a:ext cx="5315369" cy="144007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6" name="Inhaltsplatzhalter 7">
            <a:extLst>
              <a:ext uri="{FF2B5EF4-FFF2-40B4-BE49-F238E27FC236}">
                <a16:creationId xmlns:a16="http://schemas.microsoft.com/office/drawing/2014/main" id="{57812905-85A4-4D41-B594-9DBE67D72225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550863" y="4960916"/>
            <a:ext cx="5315369" cy="144007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7" name="Fußzeilenplatzhalter 12">
            <a:extLst>
              <a:ext uri="{FF2B5EF4-FFF2-40B4-BE49-F238E27FC236}">
                <a16:creationId xmlns:a16="http://schemas.microsoft.com/office/drawing/2014/main" id="{C5024CEA-7402-4E7E-B545-CDDEDE842B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89194"/>
                </a:solidFill>
              </a:rPr>
              <a:t>ABBA </a:t>
            </a:r>
            <a:r>
              <a:rPr lang="de-DE">
                <a:solidFill>
                  <a:srgbClr val="8C8C8C"/>
                </a:solidFill>
              </a:rPr>
              <a:t>| Vortragende*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04750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Inhalt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AA6B5-141F-44B5-A6D7-591287D259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Bild_Inhalt_1/3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9A54B5-3EC0-4E62-8E65-8B53A9175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31BACA-32E6-4A4E-9E1B-9B172B94C0AA}" type="datetime1">
              <a:rPr lang="de-DE" smtClean="0"/>
              <a:t>14.02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86950EE-5D2D-4DBE-B2BC-428939E6E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4063" y="6584720"/>
            <a:ext cx="304800" cy="139606"/>
          </a:xfrm>
        </p:spPr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463866B-AFBB-4230-8C80-95837FE8A2E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463589" y="1449389"/>
            <a:ext cx="7178400" cy="45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66560C2-5920-4C2E-BC72-15DF7369FF9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DCFAE809-57E6-4701-9CEE-97722EB9BA3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50800" y="1449389"/>
            <a:ext cx="3456354" cy="4500000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 </a:t>
            </a:r>
            <a:endParaRPr lang="en-US"/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7471E5C3-2D64-419A-8EE2-8313EF24F23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463590" y="6201000"/>
            <a:ext cx="7178400" cy="144000"/>
          </a:xfrm>
        </p:spPr>
        <p:txBody>
          <a:bodyPr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B1E808DA-B814-4D3E-89EC-C2AD849F7BC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50800" y="6201000"/>
            <a:ext cx="3456354" cy="144000"/>
          </a:xfrm>
        </p:spPr>
        <p:txBody>
          <a:bodyPr/>
          <a:lstStyle>
            <a:lvl1pPr marL="0" indent="0" algn="r">
              <a:buNone/>
              <a:defRPr sz="1050" i="1">
                <a:solidFill>
                  <a:schemeClr val="accent3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de-DE"/>
              <a:t>Bildquelle(n):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</p:txBody>
      </p:sp>
      <p:sp>
        <p:nvSpPr>
          <p:cNvPr id="14" name="Fußzeilenplatzhalter 12">
            <a:extLst>
              <a:ext uri="{FF2B5EF4-FFF2-40B4-BE49-F238E27FC236}">
                <a16:creationId xmlns:a16="http://schemas.microsoft.com/office/drawing/2014/main" id="{A9AE359E-EB56-401E-AEDC-551F51CD85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89194"/>
                </a:solidFill>
              </a:rPr>
              <a:t>ABBA </a:t>
            </a:r>
            <a:r>
              <a:rPr lang="de-DE">
                <a:solidFill>
                  <a:srgbClr val="8C8C8C"/>
                </a:solidFill>
              </a:rPr>
              <a:t>| Vortragende*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4464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DD4110-BE23-4BA1-9D17-C4601F20C8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Nur Titel</a:t>
            </a:r>
            <a:br>
              <a:rPr lang="de-DE"/>
            </a:br>
            <a:r>
              <a:rPr lang="de-DE"/>
              <a:t>Zur freien Gestaltung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FEB47C2-3C17-42A1-979F-ADB13DCEA2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E0DEC-CD5C-4FD5-8287-F2F16A3E50D9}" type="datetime1">
              <a:rPr lang="de-DE" smtClean="0"/>
              <a:t>14.02.2024</a:t>
            </a:fld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9D0547F-3831-4DE1-A9F6-CC8691685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2592323-0F20-49E2-B449-ADBAA6030981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Fußzeilenplatzhalter 12">
            <a:extLst>
              <a:ext uri="{FF2B5EF4-FFF2-40B4-BE49-F238E27FC236}">
                <a16:creationId xmlns:a16="http://schemas.microsoft.com/office/drawing/2014/main" id="{06596C1B-AB91-43EC-98A6-4016B7FB41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89194"/>
                </a:solidFill>
              </a:rPr>
              <a:t>ABBA </a:t>
            </a:r>
            <a:r>
              <a:rPr lang="de-DE">
                <a:solidFill>
                  <a:srgbClr val="8C8C8C"/>
                </a:solidFill>
              </a:rPr>
              <a:t>| Vortragende*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77405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ganzflächig_Alternativ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Bildplatzhalter 103">
            <a:extLst>
              <a:ext uri="{FF2B5EF4-FFF2-40B4-BE49-F238E27FC236}">
                <a16:creationId xmlns:a16="http://schemas.microsoft.com/office/drawing/2014/main" id="{41167E96-D4AB-44BD-BBF3-59586ABEF4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7" y="1233490"/>
            <a:ext cx="12191979" cy="5624515"/>
          </a:xfrm>
          <a:custGeom>
            <a:avLst/>
            <a:gdLst>
              <a:gd name="connsiteX0" fmla="*/ 0 w 9905983"/>
              <a:gd name="connsiteY0" fmla="*/ 0 h 6857989"/>
              <a:gd name="connsiteX1" fmla="*/ 9905983 w 9905983"/>
              <a:gd name="connsiteY1" fmla="*/ 0 h 6857989"/>
              <a:gd name="connsiteX2" fmla="*/ 9905983 w 9905983"/>
              <a:gd name="connsiteY2" fmla="*/ 6857989 h 6857989"/>
              <a:gd name="connsiteX3" fmla="*/ 0 w 9905983"/>
              <a:gd name="connsiteY3" fmla="*/ 6857989 h 6857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5983" h="6857989">
                <a:moveTo>
                  <a:pt x="0" y="0"/>
                </a:moveTo>
                <a:lnTo>
                  <a:pt x="9905983" y="0"/>
                </a:lnTo>
                <a:lnTo>
                  <a:pt x="9905983" y="6857989"/>
                </a:lnTo>
                <a:lnTo>
                  <a:pt x="0" y="6857989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 </a:t>
            </a:r>
            <a:endParaRPr lang="en-US"/>
          </a:p>
        </p:txBody>
      </p:sp>
      <p:sp>
        <p:nvSpPr>
          <p:cNvPr id="105" name="Textplatzhalter 14">
            <a:extLst>
              <a:ext uri="{FF2B5EF4-FFF2-40B4-BE49-F238E27FC236}">
                <a16:creationId xmlns:a16="http://schemas.microsoft.com/office/drawing/2014/main" id="{D36D93C0-DCCD-41F5-9030-B5A2BD03F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457063"/>
            <a:ext cx="6096000" cy="936625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468000" tIns="108000" rIns="432000" bIns="108000" anchor="ctr"/>
          <a:lstStyle>
            <a:lvl1pPr marL="0" indent="0" algn="l">
              <a:buNone/>
              <a:defRPr/>
            </a:lvl1pPr>
          </a:lstStyle>
          <a:p>
            <a:pPr lvl="0"/>
            <a:r>
              <a:rPr lang="de-DE"/>
              <a:t>Lorem Ipsum</a:t>
            </a:r>
            <a:endParaRPr lang="en-US"/>
          </a:p>
        </p:txBody>
      </p:sp>
      <p:sp>
        <p:nvSpPr>
          <p:cNvPr id="106" name="Textplatzhalter 14">
            <a:extLst>
              <a:ext uri="{FF2B5EF4-FFF2-40B4-BE49-F238E27FC236}">
                <a16:creationId xmlns:a16="http://schemas.microsoft.com/office/drawing/2014/main" id="{E7330922-7F51-4C91-8DC7-07C149FD3E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1457063"/>
            <a:ext cx="232507" cy="936625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07135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ganzflächig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Bildplatzhalter 103">
            <a:extLst>
              <a:ext uri="{FF2B5EF4-FFF2-40B4-BE49-F238E27FC236}">
                <a16:creationId xmlns:a16="http://schemas.microsoft.com/office/drawing/2014/main" id="{41167E96-D4AB-44BD-BBF3-59586ABEF4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7" y="1233490"/>
            <a:ext cx="12191979" cy="5624515"/>
          </a:xfrm>
          <a:custGeom>
            <a:avLst/>
            <a:gdLst>
              <a:gd name="connsiteX0" fmla="*/ 0 w 9905983"/>
              <a:gd name="connsiteY0" fmla="*/ 0 h 6857989"/>
              <a:gd name="connsiteX1" fmla="*/ 9905983 w 9905983"/>
              <a:gd name="connsiteY1" fmla="*/ 0 h 6857989"/>
              <a:gd name="connsiteX2" fmla="*/ 9905983 w 9905983"/>
              <a:gd name="connsiteY2" fmla="*/ 6857989 h 6857989"/>
              <a:gd name="connsiteX3" fmla="*/ 0 w 9905983"/>
              <a:gd name="connsiteY3" fmla="*/ 6857989 h 6857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5983" h="6857989">
                <a:moveTo>
                  <a:pt x="0" y="0"/>
                </a:moveTo>
                <a:lnTo>
                  <a:pt x="9905983" y="0"/>
                </a:lnTo>
                <a:lnTo>
                  <a:pt x="9905983" y="6857989"/>
                </a:lnTo>
                <a:lnTo>
                  <a:pt x="0" y="6857989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 </a:t>
            </a:r>
            <a:endParaRPr lang="en-US"/>
          </a:p>
        </p:txBody>
      </p:sp>
      <p:sp>
        <p:nvSpPr>
          <p:cNvPr id="105" name="Textplatzhalter 14">
            <a:extLst>
              <a:ext uri="{FF2B5EF4-FFF2-40B4-BE49-F238E27FC236}">
                <a16:creationId xmlns:a16="http://schemas.microsoft.com/office/drawing/2014/main" id="{D36D93C0-DCCD-41F5-9030-B5A2BD03F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" y="5595038"/>
            <a:ext cx="6095999" cy="606724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540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Lorem Ipsum</a:t>
            </a:r>
            <a:endParaRPr lang="en-US"/>
          </a:p>
        </p:txBody>
      </p:sp>
      <p:sp>
        <p:nvSpPr>
          <p:cNvPr id="106" name="Textplatzhalter 14">
            <a:extLst>
              <a:ext uri="{FF2B5EF4-FFF2-40B4-BE49-F238E27FC236}">
                <a16:creationId xmlns:a16="http://schemas.microsoft.com/office/drawing/2014/main" id="{0176A9EC-3AD0-4E01-8563-18A9AB2C16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5595038"/>
            <a:ext cx="232507" cy="606724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2437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9AA4FD1-AF41-4DD5-937F-459FA9235E3B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1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3" name="Group 59">
            <a:extLst>
              <a:ext uri="{FF2B5EF4-FFF2-40B4-BE49-F238E27FC236}">
                <a16:creationId xmlns:a16="http://schemas.microsoft.com/office/drawing/2014/main" id="{8B16DD28-3358-41ED-A6FD-FD0CE2490E89}"/>
              </a:ext>
            </a:extLst>
          </p:cNvPr>
          <p:cNvGrpSpPr/>
          <p:nvPr userDrawn="1"/>
        </p:nvGrpSpPr>
        <p:grpSpPr>
          <a:xfrm>
            <a:off x="873883" y="2341625"/>
            <a:ext cx="2839915" cy="2174750"/>
            <a:chOff x="310166" y="5375508"/>
            <a:chExt cx="491206" cy="410670"/>
          </a:xfrm>
          <a:solidFill>
            <a:schemeClr val="bg1"/>
          </a:solidFill>
        </p:grpSpPr>
        <p:sp>
          <p:nvSpPr>
            <p:cNvPr id="4" name="Freeform 166">
              <a:extLst>
                <a:ext uri="{FF2B5EF4-FFF2-40B4-BE49-F238E27FC236}">
                  <a16:creationId xmlns:a16="http://schemas.microsoft.com/office/drawing/2014/main" id="{888FE86F-8894-4EA7-A86C-5B552906FA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752" y="5375508"/>
              <a:ext cx="23812" cy="69850"/>
            </a:xfrm>
            <a:custGeom>
              <a:avLst/>
              <a:gdLst>
                <a:gd name="T0" fmla="*/ 8 w 15"/>
                <a:gd name="T1" fmla="*/ 44 h 44"/>
                <a:gd name="T2" fmla="*/ 8 w 15"/>
                <a:gd name="T3" fmla="*/ 44 h 44"/>
                <a:gd name="T4" fmla="*/ 11 w 15"/>
                <a:gd name="T5" fmla="*/ 44 h 44"/>
                <a:gd name="T6" fmla="*/ 13 w 15"/>
                <a:gd name="T7" fmla="*/ 42 h 44"/>
                <a:gd name="T8" fmla="*/ 15 w 15"/>
                <a:gd name="T9" fmla="*/ 40 h 44"/>
                <a:gd name="T10" fmla="*/ 15 w 15"/>
                <a:gd name="T11" fmla="*/ 37 h 44"/>
                <a:gd name="T12" fmla="*/ 15 w 15"/>
                <a:gd name="T13" fmla="*/ 7 h 44"/>
                <a:gd name="T14" fmla="*/ 15 w 15"/>
                <a:gd name="T15" fmla="*/ 7 h 44"/>
                <a:gd name="T16" fmla="*/ 15 w 15"/>
                <a:gd name="T17" fmla="*/ 5 h 44"/>
                <a:gd name="T18" fmla="*/ 13 w 15"/>
                <a:gd name="T19" fmla="*/ 4 h 44"/>
                <a:gd name="T20" fmla="*/ 11 w 15"/>
                <a:gd name="T21" fmla="*/ 2 h 44"/>
                <a:gd name="T22" fmla="*/ 8 w 15"/>
                <a:gd name="T23" fmla="*/ 0 h 44"/>
                <a:gd name="T24" fmla="*/ 8 w 15"/>
                <a:gd name="T25" fmla="*/ 0 h 44"/>
                <a:gd name="T26" fmla="*/ 4 w 15"/>
                <a:gd name="T27" fmla="*/ 2 h 44"/>
                <a:gd name="T28" fmla="*/ 2 w 15"/>
                <a:gd name="T29" fmla="*/ 4 h 44"/>
                <a:gd name="T30" fmla="*/ 0 w 15"/>
                <a:gd name="T31" fmla="*/ 5 h 44"/>
                <a:gd name="T32" fmla="*/ 0 w 15"/>
                <a:gd name="T33" fmla="*/ 7 h 44"/>
                <a:gd name="T34" fmla="*/ 0 w 15"/>
                <a:gd name="T35" fmla="*/ 37 h 44"/>
                <a:gd name="T36" fmla="*/ 0 w 15"/>
                <a:gd name="T37" fmla="*/ 37 h 44"/>
                <a:gd name="T38" fmla="*/ 0 w 15"/>
                <a:gd name="T39" fmla="*/ 40 h 44"/>
                <a:gd name="T40" fmla="*/ 2 w 15"/>
                <a:gd name="T41" fmla="*/ 42 h 44"/>
                <a:gd name="T42" fmla="*/ 4 w 15"/>
                <a:gd name="T43" fmla="*/ 44 h 44"/>
                <a:gd name="T44" fmla="*/ 8 w 15"/>
                <a:gd name="T45" fmla="*/ 44 h 44"/>
                <a:gd name="T46" fmla="*/ 8 w 15"/>
                <a:gd name="T4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" h="44">
                  <a:moveTo>
                    <a:pt x="8" y="44"/>
                  </a:moveTo>
                  <a:lnTo>
                    <a:pt x="8" y="44"/>
                  </a:lnTo>
                  <a:lnTo>
                    <a:pt x="11" y="44"/>
                  </a:lnTo>
                  <a:lnTo>
                    <a:pt x="13" y="42"/>
                  </a:lnTo>
                  <a:lnTo>
                    <a:pt x="15" y="40"/>
                  </a:lnTo>
                  <a:lnTo>
                    <a:pt x="15" y="3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5"/>
                  </a:lnTo>
                  <a:lnTo>
                    <a:pt x="13" y="4"/>
                  </a:lnTo>
                  <a:lnTo>
                    <a:pt x="11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0" y="40"/>
                  </a:lnTo>
                  <a:lnTo>
                    <a:pt x="2" y="42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close/>
                </a:path>
              </a:pathLst>
            </a:custGeom>
            <a:grp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5" name="Freeform 167">
              <a:extLst>
                <a:ext uri="{FF2B5EF4-FFF2-40B4-BE49-F238E27FC236}">
                  <a16:creationId xmlns:a16="http://schemas.microsoft.com/office/drawing/2014/main" id="{EE2EC14B-8A22-4353-ABAB-0571ACA5E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166" y="5551720"/>
              <a:ext cx="69850" cy="22225"/>
            </a:xfrm>
            <a:custGeom>
              <a:avLst/>
              <a:gdLst>
                <a:gd name="T0" fmla="*/ 37 w 44"/>
                <a:gd name="T1" fmla="*/ 0 h 14"/>
                <a:gd name="T2" fmla="*/ 7 w 44"/>
                <a:gd name="T3" fmla="*/ 0 h 14"/>
                <a:gd name="T4" fmla="*/ 7 w 44"/>
                <a:gd name="T5" fmla="*/ 0 h 14"/>
                <a:gd name="T6" fmla="*/ 5 w 44"/>
                <a:gd name="T7" fmla="*/ 0 h 14"/>
                <a:gd name="T8" fmla="*/ 3 w 44"/>
                <a:gd name="T9" fmla="*/ 1 h 14"/>
                <a:gd name="T10" fmla="*/ 2 w 44"/>
                <a:gd name="T11" fmla="*/ 3 h 14"/>
                <a:gd name="T12" fmla="*/ 0 w 44"/>
                <a:gd name="T13" fmla="*/ 7 h 14"/>
                <a:gd name="T14" fmla="*/ 0 w 44"/>
                <a:gd name="T15" fmla="*/ 7 h 14"/>
                <a:gd name="T16" fmla="*/ 2 w 44"/>
                <a:gd name="T17" fmla="*/ 10 h 14"/>
                <a:gd name="T18" fmla="*/ 3 w 44"/>
                <a:gd name="T19" fmla="*/ 12 h 14"/>
                <a:gd name="T20" fmla="*/ 5 w 44"/>
                <a:gd name="T21" fmla="*/ 14 h 14"/>
                <a:gd name="T22" fmla="*/ 7 w 44"/>
                <a:gd name="T23" fmla="*/ 14 h 14"/>
                <a:gd name="T24" fmla="*/ 37 w 44"/>
                <a:gd name="T25" fmla="*/ 14 h 14"/>
                <a:gd name="T26" fmla="*/ 37 w 44"/>
                <a:gd name="T27" fmla="*/ 14 h 14"/>
                <a:gd name="T28" fmla="*/ 40 w 44"/>
                <a:gd name="T29" fmla="*/ 14 h 14"/>
                <a:gd name="T30" fmla="*/ 42 w 44"/>
                <a:gd name="T31" fmla="*/ 12 h 14"/>
                <a:gd name="T32" fmla="*/ 44 w 44"/>
                <a:gd name="T33" fmla="*/ 10 h 14"/>
                <a:gd name="T34" fmla="*/ 44 w 44"/>
                <a:gd name="T35" fmla="*/ 7 h 14"/>
                <a:gd name="T36" fmla="*/ 44 w 44"/>
                <a:gd name="T37" fmla="*/ 7 h 14"/>
                <a:gd name="T38" fmla="*/ 44 w 44"/>
                <a:gd name="T39" fmla="*/ 3 h 14"/>
                <a:gd name="T40" fmla="*/ 42 w 44"/>
                <a:gd name="T41" fmla="*/ 1 h 14"/>
                <a:gd name="T42" fmla="*/ 40 w 44"/>
                <a:gd name="T43" fmla="*/ 0 h 14"/>
                <a:gd name="T44" fmla="*/ 37 w 44"/>
                <a:gd name="T45" fmla="*/ 0 h 14"/>
                <a:gd name="T46" fmla="*/ 37 w 44"/>
                <a:gd name="T4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4" h="14">
                  <a:moveTo>
                    <a:pt x="37" y="0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3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10"/>
                  </a:lnTo>
                  <a:lnTo>
                    <a:pt x="3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40" y="14"/>
                  </a:lnTo>
                  <a:lnTo>
                    <a:pt x="42" y="12"/>
                  </a:lnTo>
                  <a:lnTo>
                    <a:pt x="44" y="10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4" y="3"/>
                  </a:lnTo>
                  <a:lnTo>
                    <a:pt x="42" y="1"/>
                  </a:lnTo>
                  <a:lnTo>
                    <a:pt x="40" y="0"/>
                  </a:lnTo>
                  <a:lnTo>
                    <a:pt x="37" y="0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6" name="Freeform 168">
              <a:extLst>
                <a:ext uri="{FF2B5EF4-FFF2-40B4-BE49-F238E27FC236}">
                  <a16:creationId xmlns:a16="http://schemas.microsoft.com/office/drawing/2014/main" id="{95E13893-5155-4BDC-B790-993416A56E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752" y="5423133"/>
              <a:ext cx="55562" cy="55562"/>
            </a:xfrm>
            <a:custGeom>
              <a:avLst/>
              <a:gdLst>
                <a:gd name="T0" fmla="*/ 33 w 35"/>
                <a:gd name="T1" fmla="*/ 23 h 35"/>
                <a:gd name="T2" fmla="*/ 12 w 35"/>
                <a:gd name="T3" fmla="*/ 2 h 35"/>
                <a:gd name="T4" fmla="*/ 12 w 35"/>
                <a:gd name="T5" fmla="*/ 2 h 35"/>
                <a:gd name="T6" fmla="*/ 10 w 35"/>
                <a:gd name="T7" fmla="*/ 0 h 35"/>
                <a:gd name="T8" fmla="*/ 7 w 35"/>
                <a:gd name="T9" fmla="*/ 0 h 35"/>
                <a:gd name="T10" fmla="*/ 5 w 35"/>
                <a:gd name="T11" fmla="*/ 0 h 35"/>
                <a:gd name="T12" fmla="*/ 1 w 35"/>
                <a:gd name="T13" fmla="*/ 2 h 35"/>
                <a:gd name="T14" fmla="*/ 1 w 35"/>
                <a:gd name="T15" fmla="*/ 2 h 35"/>
                <a:gd name="T16" fmla="*/ 0 w 35"/>
                <a:gd name="T17" fmla="*/ 5 h 35"/>
                <a:gd name="T18" fmla="*/ 0 w 35"/>
                <a:gd name="T19" fmla="*/ 7 h 35"/>
                <a:gd name="T20" fmla="*/ 0 w 35"/>
                <a:gd name="T21" fmla="*/ 10 h 35"/>
                <a:gd name="T22" fmla="*/ 1 w 35"/>
                <a:gd name="T23" fmla="*/ 12 h 35"/>
                <a:gd name="T24" fmla="*/ 22 w 35"/>
                <a:gd name="T25" fmla="*/ 33 h 35"/>
                <a:gd name="T26" fmla="*/ 22 w 35"/>
                <a:gd name="T27" fmla="*/ 33 h 35"/>
                <a:gd name="T28" fmla="*/ 24 w 35"/>
                <a:gd name="T29" fmla="*/ 35 h 35"/>
                <a:gd name="T30" fmla="*/ 28 w 35"/>
                <a:gd name="T31" fmla="*/ 35 h 35"/>
                <a:gd name="T32" fmla="*/ 28 w 35"/>
                <a:gd name="T33" fmla="*/ 35 h 35"/>
                <a:gd name="T34" fmla="*/ 31 w 35"/>
                <a:gd name="T35" fmla="*/ 35 h 35"/>
                <a:gd name="T36" fmla="*/ 33 w 35"/>
                <a:gd name="T37" fmla="*/ 33 h 35"/>
                <a:gd name="T38" fmla="*/ 33 w 35"/>
                <a:gd name="T39" fmla="*/ 33 h 35"/>
                <a:gd name="T40" fmla="*/ 35 w 35"/>
                <a:gd name="T41" fmla="*/ 32 h 35"/>
                <a:gd name="T42" fmla="*/ 35 w 35"/>
                <a:gd name="T43" fmla="*/ 28 h 35"/>
                <a:gd name="T44" fmla="*/ 35 w 35"/>
                <a:gd name="T45" fmla="*/ 24 h 35"/>
                <a:gd name="T46" fmla="*/ 33 w 35"/>
                <a:gd name="T47" fmla="*/ 23 h 35"/>
                <a:gd name="T48" fmla="*/ 33 w 35"/>
                <a:gd name="T49" fmla="*/ 2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5" h="35">
                  <a:moveTo>
                    <a:pt x="33" y="23"/>
                  </a:moveTo>
                  <a:lnTo>
                    <a:pt x="12" y="2"/>
                  </a:lnTo>
                  <a:lnTo>
                    <a:pt x="12" y="2"/>
                  </a:lnTo>
                  <a:lnTo>
                    <a:pt x="10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10"/>
                  </a:lnTo>
                  <a:lnTo>
                    <a:pt x="1" y="12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31" y="35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5" y="32"/>
                  </a:lnTo>
                  <a:lnTo>
                    <a:pt x="35" y="28"/>
                  </a:lnTo>
                  <a:lnTo>
                    <a:pt x="35" y="24"/>
                  </a:lnTo>
                  <a:lnTo>
                    <a:pt x="33" y="23"/>
                  </a:lnTo>
                  <a:lnTo>
                    <a:pt x="33" y="23"/>
                  </a:lnTo>
                  <a:close/>
                </a:path>
              </a:pathLst>
            </a:custGeom>
            <a:grp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7" name="Freeform 169">
              <a:extLst>
                <a:ext uri="{FF2B5EF4-FFF2-40B4-BE49-F238E27FC236}">
                  <a16:creationId xmlns:a16="http://schemas.microsoft.com/office/drawing/2014/main" id="{A41FE90B-7032-425B-AF82-261114990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002" y="5423134"/>
              <a:ext cx="55562" cy="55562"/>
            </a:xfrm>
            <a:custGeom>
              <a:avLst/>
              <a:gdLst>
                <a:gd name="T0" fmla="*/ 34 w 35"/>
                <a:gd name="T1" fmla="*/ 2 h 35"/>
                <a:gd name="T2" fmla="*/ 34 w 35"/>
                <a:gd name="T3" fmla="*/ 2 h 35"/>
                <a:gd name="T4" fmla="*/ 30 w 35"/>
                <a:gd name="T5" fmla="*/ 0 h 35"/>
                <a:gd name="T6" fmla="*/ 28 w 35"/>
                <a:gd name="T7" fmla="*/ 0 h 35"/>
                <a:gd name="T8" fmla="*/ 25 w 35"/>
                <a:gd name="T9" fmla="*/ 0 h 35"/>
                <a:gd name="T10" fmla="*/ 23 w 35"/>
                <a:gd name="T11" fmla="*/ 2 h 35"/>
                <a:gd name="T12" fmla="*/ 2 w 35"/>
                <a:gd name="T13" fmla="*/ 23 h 35"/>
                <a:gd name="T14" fmla="*/ 2 w 35"/>
                <a:gd name="T15" fmla="*/ 23 h 35"/>
                <a:gd name="T16" fmla="*/ 0 w 35"/>
                <a:gd name="T17" fmla="*/ 24 h 35"/>
                <a:gd name="T18" fmla="*/ 0 w 35"/>
                <a:gd name="T19" fmla="*/ 28 h 35"/>
                <a:gd name="T20" fmla="*/ 0 w 35"/>
                <a:gd name="T21" fmla="*/ 32 h 35"/>
                <a:gd name="T22" fmla="*/ 2 w 35"/>
                <a:gd name="T23" fmla="*/ 33 h 35"/>
                <a:gd name="T24" fmla="*/ 2 w 35"/>
                <a:gd name="T25" fmla="*/ 33 h 35"/>
                <a:gd name="T26" fmla="*/ 4 w 35"/>
                <a:gd name="T27" fmla="*/ 35 h 35"/>
                <a:gd name="T28" fmla="*/ 7 w 35"/>
                <a:gd name="T29" fmla="*/ 35 h 35"/>
                <a:gd name="T30" fmla="*/ 7 w 35"/>
                <a:gd name="T31" fmla="*/ 35 h 35"/>
                <a:gd name="T32" fmla="*/ 11 w 35"/>
                <a:gd name="T33" fmla="*/ 35 h 35"/>
                <a:gd name="T34" fmla="*/ 13 w 35"/>
                <a:gd name="T35" fmla="*/ 33 h 35"/>
                <a:gd name="T36" fmla="*/ 34 w 35"/>
                <a:gd name="T37" fmla="*/ 12 h 35"/>
                <a:gd name="T38" fmla="*/ 34 w 35"/>
                <a:gd name="T39" fmla="*/ 12 h 35"/>
                <a:gd name="T40" fmla="*/ 35 w 35"/>
                <a:gd name="T41" fmla="*/ 10 h 35"/>
                <a:gd name="T42" fmla="*/ 35 w 35"/>
                <a:gd name="T43" fmla="*/ 7 h 35"/>
                <a:gd name="T44" fmla="*/ 35 w 35"/>
                <a:gd name="T45" fmla="*/ 5 h 35"/>
                <a:gd name="T46" fmla="*/ 34 w 35"/>
                <a:gd name="T47" fmla="*/ 2 h 35"/>
                <a:gd name="T48" fmla="*/ 34 w 35"/>
                <a:gd name="T49" fmla="*/ 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5" h="35">
                  <a:moveTo>
                    <a:pt x="34" y="2"/>
                  </a:moveTo>
                  <a:lnTo>
                    <a:pt x="34" y="2"/>
                  </a:lnTo>
                  <a:lnTo>
                    <a:pt x="30" y="0"/>
                  </a:lnTo>
                  <a:lnTo>
                    <a:pt x="28" y="0"/>
                  </a:lnTo>
                  <a:lnTo>
                    <a:pt x="25" y="0"/>
                  </a:lnTo>
                  <a:lnTo>
                    <a:pt x="23" y="2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4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11" y="35"/>
                  </a:lnTo>
                  <a:lnTo>
                    <a:pt x="13" y="33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5" y="10"/>
                  </a:lnTo>
                  <a:lnTo>
                    <a:pt x="35" y="7"/>
                  </a:lnTo>
                  <a:lnTo>
                    <a:pt x="35" y="5"/>
                  </a:lnTo>
                  <a:lnTo>
                    <a:pt x="34" y="2"/>
                  </a:lnTo>
                  <a:lnTo>
                    <a:pt x="34" y="2"/>
                  </a:lnTo>
                  <a:close/>
                </a:path>
              </a:pathLst>
            </a:custGeom>
            <a:grp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8" name="Freeform 170">
              <a:extLst>
                <a:ext uri="{FF2B5EF4-FFF2-40B4-BE49-F238E27FC236}">
                  <a16:creationId xmlns:a16="http://schemas.microsoft.com/office/drawing/2014/main" id="{1930D321-B9AF-479C-B38D-1D602FA22C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522" y="5551721"/>
              <a:ext cx="69850" cy="22225"/>
            </a:xfrm>
            <a:custGeom>
              <a:avLst/>
              <a:gdLst>
                <a:gd name="T0" fmla="*/ 37 w 44"/>
                <a:gd name="T1" fmla="*/ 0 h 14"/>
                <a:gd name="T2" fmla="*/ 7 w 44"/>
                <a:gd name="T3" fmla="*/ 0 h 14"/>
                <a:gd name="T4" fmla="*/ 7 w 44"/>
                <a:gd name="T5" fmla="*/ 0 h 14"/>
                <a:gd name="T6" fmla="*/ 4 w 44"/>
                <a:gd name="T7" fmla="*/ 0 h 14"/>
                <a:gd name="T8" fmla="*/ 2 w 44"/>
                <a:gd name="T9" fmla="*/ 1 h 14"/>
                <a:gd name="T10" fmla="*/ 0 w 44"/>
                <a:gd name="T11" fmla="*/ 3 h 14"/>
                <a:gd name="T12" fmla="*/ 0 w 44"/>
                <a:gd name="T13" fmla="*/ 7 h 14"/>
                <a:gd name="T14" fmla="*/ 0 w 44"/>
                <a:gd name="T15" fmla="*/ 7 h 14"/>
                <a:gd name="T16" fmla="*/ 0 w 44"/>
                <a:gd name="T17" fmla="*/ 10 h 14"/>
                <a:gd name="T18" fmla="*/ 2 w 44"/>
                <a:gd name="T19" fmla="*/ 12 h 14"/>
                <a:gd name="T20" fmla="*/ 4 w 44"/>
                <a:gd name="T21" fmla="*/ 14 h 14"/>
                <a:gd name="T22" fmla="*/ 7 w 44"/>
                <a:gd name="T23" fmla="*/ 14 h 14"/>
                <a:gd name="T24" fmla="*/ 37 w 44"/>
                <a:gd name="T25" fmla="*/ 14 h 14"/>
                <a:gd name="T26" fmla="*/ 37 w 44"/>
                <a:gd name="T27" fmla="*/ 14 h 14"/>
                <a:gd name="T28" fmla="*/ 39 w 44"/>
                <a:gd name="T29" fmla="*/ 14 h 14"/>
                <a:gd name="T30" fmla="*/ 41 w 44"/>
                <a:gd name="T31" fmla="*/ 12 h 14"/>
                <a:gd name="T32" fmla="*/ 42 w 44"/>
                <a:gd name="T33" fmla="*/ 10 h 14"/>
                <a:gd name="T34" fmla="*/ 44 w 44"/>
                <a:gd name="T35" fmla="*/ 7 h 14"/>
                <a:gd name="T36" fmla="*/ 44 w 44"/>
                <a:gd name="T37" fmla="*/ 7 h 14"/>
                <a:gd name="T38" fmla="*/ 42 w 44"/>
                <a:gd name="T39" fmla="*/ 3 h 14"/>
                <a:gd name="T40" fmla="*/ 41 w 44"/>
                <a:gd name="T41" fmla="*/ 1 h 14"/>
                <a:gd name="T42" fmla="*/ 39 w 44"/>
                <a:gd name="T43" fmla="*/ 0 h 14"/>
                <a:gd name="T44" fmla="*/ 37 w 44"/>
                <a:gd name="T45" fmla="*/ 0 h 14"/>
                <a:gd name="T46" fmla="*/ 37 w 44"/>
                <a:gd name="T4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4" h="14">
                  <a:moveTo>
                    <a:pt x="37" y="0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2" y="1"/>
                  </a:lnTo>
                  <a:lnTo>
                    <a:pt x="0" y="3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4" y="14"/>
                  </a:lnTo>
                  <a:lnTo>
                    <a:pt x="7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9" y="14"/>
                  </a:lnTo>
                  <a:lnTo>
                    <a:pt x="41" y="12"/>
                  </a:lnTo>
                  <a:lnTo>
                    <a:pt x="42" y="10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2" y="3"/>
                  </a:lnTo>
                  <a:lnTo>
                    <a:pt x="41" y="1"/>
                  </a:lnTo>
                  <a:lnTo>
                    <a:pt x="39" y="0"/>
                  </a:lnTo>
                  <a:lnTo>
                    <a:pt x="37" y="0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</a:endParaRPr>
            </a:p>
          </p:txBody>
        </p:sp>
        <p:grpSp>
          <p:nvGrpSpPr>
            <p:cNvPr id="9" name="Group 65">
              <a:extLst>
                <a:ext uri="{FF2B5EF4-FFF2-40B4-BE49-F238E27FC236}">
                  <a16:creationId xmlns:a16="http://schemas.microsoft.com/office/drawing/2014/main" id="{6B972CBD-3EFA-4C09-BFA9-1EF41A4F005B}"/>
                </a:ext>
              </a:extLst>
            </p:cNvPr>
            <p:cNvGrpSpPr/>
            <p:nvPr/>
          </p:nvGrpSpPr>
          <p:grpSpPr>
            <a:xfrm>
              <a:off x="432127" y="5519135"/>
              <a:ext cx="243823" cy="267043"/>
              <a:chOff x="-1358901" y="4653498"/>
              <a:chExt cx="400051" cy="438150"/>
            </a:xfrm>
            <a:grpFill/>
          </p:grpSpPr>
          <p:sp>
            <p:nvSpPr>
              <p:cNvPr id="10" name="Freeform 306">
                <a:extLst>
                  <a:ext uri="{FF2B5EF4-FFF2-40B4-BE49-F238E27FC236}">
                    <a16:creationId xmlns:a16="http://schemas.microsoft.com/office/drawing/2014/main" id="{A05AAB9F-45D8-4EDA-8C45-4296663DA8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150938" y="4653498"/>
                <a:ext cx="192088" cy="438150"/>
              </a:xfrm>
              <a:custGeom>
                <a:avLst/>
                <a:gdLst>
                  <a:gd name="T0" fmla="*/ 306 w 714"/>
                  <a:gd name="T1" fmla="*/ 288 h 1632"/>
                  <a:gd name="T2" fmla="*/ 384 w 714"/>
                  <a:gd name="T3" fmla="*/ 240 h 1632"/>
                  <a:gd name="T4" fmla="*/ 339 w 714"/>
                  <a:gd name="T5" fmla="*/ 71 h 1632"/>
                  <a:gd name="T6" fmla="*/ 127 w 714"/>
                  <a:gd name="T7" fmla="*/ 0 h 1632"/>
                  <a:gd name="T8" fmla="*/ 2 w 714"/>
                  <a:gd name="T9" fmla="*/ 12 h 1632"/>
                  <a:gd name="T10" fmla="*/ 2 w 714"/>
                  <a:gd name="T11" fmla="*/ 1536 h 1632"/>
                  <a:gd name="T12" fmla="*/ 0 w 714"/>
                  <a:gd name="T13" fmla="*/ 1541 h 1632"/>
                  <a:gd name="T14" fmla="*/ 0 w 714"/>
                  <a:gd name="T15" fmla="*/ 1542 h 1632"/>
                  <a:gd name="T16" fmla="*/ 129 w 714"/>
                  <a:gd name="T17" fmla="*/ 1632 h 1632"/>
                  <a:gd name="T18" fmla="*/ 359 w 714"/>
                  <a:gd name="T19" fmla="*/ 1536 h 1632"/>
                  <a:gd name="T20" fmla="*/ 162 w 714"/>
                  <a:gd name="T21" fmla="*/ 1348 h 1632"/>
                  <a:gd name="T22" fmla="*/ 213 w 714"/>
                  <a:gd name="T23" fmla="*/ 1343 h 1632"/>
                  <a:gd name="T24" fmla="*/ 406 w 714"/>
                  <a:gd name="T25" fmla="*/ 1503 h 1632"/>
                  <a:gd name="T26" fmla="*/ 645 w 714"/>
                  <a:gd name="T27" fmla="*/ 1240 h 1632"/>
                  <a:gd name="T28" fmla="*/ 536 w 714"/>
                  <a:gd name="T29" fmla="*/ 1108 h 1632"/>
                  <a:gd name="T30" fmla="*/ 483 w 714"/>
                  <a:gd name="T31" fmla="*/ 1084 h 1632"/>
                  <a:gd name="T32" fmla="*/ 487 w 714"/>
                  <a:gd name="T33" fmla="*/ 1082 h 1632"/>
                  <a:gd name="T34" fmla="*/ 256 w 714"/>
                  <a:gd name="T35" fmla="*/ 1038 h 1632"/>
                  <a:gd name="T36" fmla="*/ 212 w 714"/>
                  <a:gd name="T37" fmla="*/ 1091 h 1632"/>
                  <a:gd name="T38" fmla="*/ 163 w 714"/>
                  <a:gd name="T39" fmla="*/ 1078 h 1632"/>
                  <a:gd name="T40" fmla="*/ 236 w 714"/>
                  <a:gd name="T41" fmla="*/ 991 h 1632"/>
                  <a:gd name="T42" fmla="*/ 548 w 714"/>
                  <a:gd name="T43" fmla="*/ 1056 h 1632"/>
                  <a:gd name="T44" fmla="*/ 658 w 714"/>
                  <a:gd name="T45" fmla="*/ 931 h 1632"/>
                  <a:gd name="T46" fmla="*/ 514 w 714"/>
                  <a:gd name="T47" fmla="*/ 409 h 1632"/>
                  <a:gd name="T48" fmla="*/ 306 w 714"/>
                  <a:gd name="T49" fmla="*/ 288 h 1632"/>
                  <a:gd name="T50" fmla="*/ 353 w 714"/>
                  <a:gd name="T51" fmla="*/ 708 h 1632"/>
                  <a:gd name="T52" fmla="*/ 162 w 714"/>
                  <a:gd name="T53" fmla="*/ 419 h 1632"/>
                  <a:gd name="T54" fmla="*/ 213 w 714"/>
                  <a:gd name="T55" fmla="*/ 425 h 1632"/>
                  <a:gd name="T56" fmla="*/ 382 w 714"/>
                  <a:gd name="T57" fmla="*/ 665 h 1632"/>
                  <a:gd name="T58" fmla="*/ 353 w 714"/>
                  <a:gd name="T59" fmla="*/ 708 h 1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714" h="1632">
                    <a:moveTo>
                      <a:pt x="306" y="288"/>
                    </a:moveTo>
                    <a:cubicBezTo>
                      <a:pt x="310" y="257"/>
                      <a:pt x="347" y="245"/>
                      <a:pt x="384" y="240"/>
                    </a:cubicBezTo>
                    <a:cubicBezTo>
                      <a:pt x="389" y="167"/>
                      <a:pt x="374" y="110"/>
                      <a:pt x="339" y="71"/>
                    </a:cubicBezTo>
                    <a:cubicBezTo>
                      <a:pt x="287" y="12"/>
                      <a:pt x="195" y="0"/>
                      <a:pt x="127" y="0"/>
                    </a:cubicBezTo>
                    <a:cubicBezTo>
                      <a:pt x="76" y="0"/>
                      <a:pt x="30" y="6"/>
                      <a:pt x="2" y="12"/>
                    </a:cubicBezTo>
                    <a:lnTo>
                      <a:pt x="2" y="1536"/>
                    </a:lnTo>
                    <a:lnTo>
                      <a:pt x="0" y="1541"/>
                    </a:lnTo>
                    <a:cubicBezTo>
                      <a:pt x="0" y="1541"/>
                      <a:pt x="0" y="1541"/>
                      <a:pt x="0" y="1542"/>
                    </a:cubicBezTo>
                    <a:cubicBezTo>
                      <a:pt x="28" y="1602"/>
                      <a:pt x="70" y="1632"/>
                      <a:pt x="129" y="1632"/>
                    </a:cubicBezTo>
                    <a:cubicBezTo>
                      <a:pt x="214" y="1632"/>
                      <a:pt x="311" y="1571"/>
                      <a:pt x="359" y="1536"/>
                    </a:cubicBezTo>
                    <a:cubicBezTo>
                      <a:pt x="294" y="1502"/>
                      <a:pt x="169" y="1427"/>
                      <a:pt x="162" y="1348"/>
                    </a:cubicBezTo>
                    <a:lnTo>
                      <a:pt x="213" y="1343"/>
                    </a:lnTo>
                    <a:cubicBezTo>
                      <a:pt x="218" y="1395"/>
                      <a:pt x="329" y="1466"/>
                      <a:pt x="406" y="1503"/>
                    </a:cubicBezTo>
                    <a:cubicBezTo>
                      <a:pt x="566" y="1408"/>
                      <a:pt x="649" y="1318"/>
                      <a:pt x="645" y="1240"/>
                    </a:cubicBezTo>
                    <a:cubicBezTo>
                      <a:pt x="641" y="1157"/>
                      <a:pt x="537" y="1108"/>
                      <a:pt x="536" y="1108"/>
                    </a:cubicBezTo>
                    <a:lnTo>
                      <a:pt x="483" y="1084"/>
                    </a:lnTo>
                    <a:lnTo>
                      <a:pt x="487" y="1082"/>
                    </a:lnTo>
                    <a:cubicBezTo>
                      <a:pt x="419" y="1051"/>
                      <a:pt x="315" y="1014"/>
                      <a:pt x="256" y="1038"/>
                    </a:cubicBezTo>
                    <a:cubicBezTo>
                      <a:pt x="234" y="1048"/>
                      <a:pt x="220" y="1065"/>
                      <a:pt x="212" y="1091"/>
                    </a:cubicBezTo>
                    <a:lnTo>
                      <a:pt x="163" y="1078"/>
                    </a:lnTo>
                    <a:cubicBezTo>
                      <a:pt x="174" y="1036"/>
                      <a:pt x="199" y="1006"/>
                      <a:pt x="236" y="991"/>
                    </a:cubicBezTo>
                    <a:cubicBezTo>
                      <a:pt x="337" y="950"/>
                      <a:pt x="502" y="1031"/>
                      <a:pt x="548" y="1056"/>
                    </a:cubicBezTo>
                    <a:cubicBezTo>
                      <a:pt x="604" y="1028"/>
                      <a:pt x="641" y="988"/>
                      <a:pt x="658" y="931"/>
                    </a:cubicBezTo>
                    <a:cubicBezTo>
                      <a:pt x="714" y="746"/>
                      <a:pt x="545" y="460"/>
                      <a:pt x="514" y="409"/>
                    </a:cubicBezTo>
                    <a:cubicBezTo>
                      <a:pt x="336" y="354"/>
                      <a:pt x="302" y="322"/>
                      <a:pt x="306" y="288"/>
                    </a:cubicBezTo>
                    <a:close/>
                    <a:moveTo>
                      <a:pt x="353" y="708"/>
                    </a:moveTo>
                    <a:cubicBezTo>
                      <a:pt x="344" y="702"/>
                      <a:pt x="144" y="563"/>
                      <a:pt x="162" y="419"/>
                    </a:cubicBezTo>
                    <a:lnTo>
                      <a:pt x="213" y="425"/>
                    </a:lnTo>
                    <a:cubicBezTo>
                      <a:pt x="201" y="519"/>
                      <a:pt x="331" y="630"/>
                      <a:pt x="382" y="665"/>
                    </a:cubicBezTo>
                    <a:lnTo>
                      <a:pt x="353" y="708"/>
                    </a:lnTo>
                    <a:close/>
                  </a:path>
                </a:pathLst>
              </a:custGeom>
              <a:grpFill/>
              <a:ln w="0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</a:endParaRPr>
              </a:p>
            </p:txBody>
          </p:sp>
          <p:sp>
            <p:nvSpPr>
              <p:cNvPr id="11" name="Freeform 307">
                <a:extLst>
                  <a:ext uri="{FF2B5EF4-FFF2-40B4-BE49-F238E27FC236}">
                    <a16:creationId xmlns:a16="http://schemas.microsoft.com/office/drawing/2014/main" id="{D7A607EC-8331-4374-9C9F-FB6FE7CF86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358901" y="4653498"/>
                <a:ext cx="192088" cy="438150"/>
              </a:xfrm>
              <a:custGeom>
                <a:avLst/>
                <a:gdLst>
                  <a:gd name="T0" fmla="*/ 712 w 714"/>
                  <a:gd name="T1" fmla="*/ 1536 h 1632"/>
                  <a:gd name="T2" fmla="*/ 712 w 714"/>
                  <a:gd name="T3" fmla="*/ 12 h 1632"/>
                  <a:gd name="T4" fmla="*/ 587 w 714"/>
                  <a:gd name="T5" fmla="*/ 0 h 1632"/>
                  <a:gd name="T6" fmla="*/ 375 w 714"/>
                  <a:gd name="T7" fmla="*/ 71 h 1632"/>
                  <a:gd name="T8" fmla="*/ 330 w 714"/>
                  <a:gd name="T9" fmla="*/ 240 h 1632"/>
                  <a:gd name="T10" fmla="*/ 408 w 714"/>
                  <a:gd name="T11" fmla="*/ 288 h 1632"/>
                  <a:gd name="T12" fmla="*/ 201 w 714"/>
                  <a:gd name="T13" fmla="*/ 409 h 1632"/>
                  <a:gd name="T14" fmla="*/ 56 w 714"/>
                  <a:gd name="T15" fmla="*/ 931 h 1632"/>
                  <a:gd name="T16" fmla="*/ 167 w 714"/>
                  <a:gd name="T17" fmla="*/ 1056 h 1632"/>
                  <a:gd name="T18" fmla="*/ 478 w 714"/>
                  <a:gd name="T19" fmla="*/ 991 h 1632"/>
                  <a:gd name="T20" fmla="*/ 551 w 714"/>
                  <a:gd name="T21" fmla="*/ 1078 h 1632"/>
                  <a:gd name="T22" fmla="*/ 502 w 714"/>
                  <a:gd name="T23" fmla="*/ 1091 h 1632"/>
                  <a:gd name="T24" fmla="*/ 459 w 714"/>
                  <a:gd name="T25" fmla="*/ 1038 h 1632"/>
                  <a:gd name="T26" fmla="*/ 228 w 714"/>
                  <a:gd name="T27" fmla="*/ 1082 h 1632"/>
                  <a:gd name="T28" fmla="*/ 231 w 714"/>
                  <a:gd name="T29" fmla="*/ 1084 h 1632"/>
                  <a:gd name="T30" fmla="*/ 178 w 714"/>
                  <a:gd name="T31" fmla="*/ 1108 h 1632"/>
                  <a:gd name="T32" fmla="*/ 69 w 714"/>
                  <a:gd name="T33" fmla="*/ 1240 h 1632"/>
                  <a:gd name="T34" fmla="*/ 311 w 714"/>
                  <a:gd name="T35" fmla="*/ 1505 h 1632"/>
                  <a:gd name="T36" fmla="*/ 509 w 714"/>
                  <a:gd name="T37" fmla="*/ 1343 h 1632"/>
                  <a:gd name="T38" fmla="*/ 560 w 714"/>
                  <a:gd name="T39" fmla="*/ 1348 h 1632"/>
                  <a:gd name="T40" fmla="*/ 358 w 714"/>
                  <a:gd name="T41" fmla="*/ 1539 h 1632"/>
                  <a:gd name="T42" fmla="*/ 585 w 714"/>
                  <a:gd name="T43" fmla="*/ 1632 h 1632"/>
                  <a:gd name="T44" fmla="*/ 714 w 714"/>
                  <a:gd name="T45" fmla="*/ 1542 h 1632"/>
                  <a:gd name="T46" fmla="*/ 714 w 714"/>
                  <a:gd name="T47" fmla="*/ 1541 h 1632"/>
                  <a:gd name="T48" fmla="*/ 712 w 714"/>
                  <a:gd name="T49" fmla="*/ 1536 h 1632"/>
                  <a:gd name="T50" fmla="*/ 362 w 714"/>
                  <a:gd name="T51" fmla="*/ 708 h 1632"/>
                  <a:gd name="T52" fmla="*/ 333 w 714"/>
                  <a:gd name="T53" fmla="*/ 665 h 1632"/>
                  <a:gd name="T54" fmla="*/ 501 w 714"/>
                  <a:gd name="T55" fmla="*/ 425 h 1632"/>
                  <a:gd name="T56" fmla="*/ 552 w 714"/>
                  <a:gd name="T57" fmla="*/ 419 h 1632"/>
                  <a:gd name="T58" fmla="*/ 362 w 714"/>
                  <a:gd name="T59" fmla="*/ 708 h 1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714" h="1632">
                    <a:moveTo>
                      <a:pt x="712" y="1536"/>
                    </a:moveTo>
                    <a:lnTo>
                      <a:pt x="712" y="12"/>
                    </a:lnTo>
                    <a:cubicBezTo>
                      <a:pt x="684" y="6"/>
                      <a:pt x="638" y="0"/>
                      <a:pt x="587" y="0"/>
                    </a:cubicBezTo>
                    <a:cubicBezTo>
                      <a:pt x="519" y="0"/>
                      <a:pt x="427" y="12"/>
                      <a:pt x="375" y="71"/>
                    </a:cubicBezTo>
                    <a:cubicBezTo>
                      <a:pt x="340" y="110"/>
                      <a:pt x="325" y="167"/>
                      <a:pt x="330" y="240"/>
                    </a:cubicBezTo>
                    <a:cubicBezTo>
                      <a:pt x="367" y="245"/>
                      <a:pt x="405" y="257"/>
                      <a:pt x="408" y="288"/>
                    </a:cubicBezTo>
                    <a:cubicBezTo>
                      <a:pt x="412" y="322"/>
                      <a:pt x="379" y="354"/>
                      <a:pt x="201" y="409"/>
                    </a:cubicBezTo>
                    <a:cubicBezTo>
                      <a:pt x="169" y="460"/>
                      <a:pt x="0" y="746"/>
                      <a:pt x="56" y="931"/>
                    </a:cubicBezTo>
                    <a:cubicBezTo>
                      <a:pt x="74" y="988"/>
                      <a:pt x="110" y="1028"/>
                      <a:pt x="167" y="1056"/>
                    </a:cubicBezTo>
                    <a:cubicBezTo>
                      <a:pt x="213" y="1031"/>
                      <a:pt x="378" y="950"/>
                      <a:pt x="478" y="991"/>
                    </a:cubicBezTo>
                    <a:cubicBezTo>
                      <a:pt x="515" y="1006"/>
                      <a:pt x="540" y="1036"/>
                      <a:pt x="551" y="1078"/>
                    </a:cubicBezTo>
                    <a:lnTo>
                      <a:pt x="502" y="1091"/>
                    </a:lnTo>
                    <a:cubicBezTo>
                      <a:pt x="495" y="1065"/>
                      <a:pt x="480" y="1048"/>
                      <a:pt x="459" y="1038"/>
                    </a:cubicBezTo>
                    <a:cubicBezTo>
                      <a:pt x="399" y="1014"/>
                      <a:pt x="295" y="1051"/>
                      <a:pt x="228" y="1082"/>
                    </a:cubicBezTo>
                    <a:lnTo>
                      <a:pt x="231" y="1084"/>
                    </a:lnTo>
                    <a:lnTo>
                      <a:pt x="178" y="1108"/>
                    </a:lnTo>
                    <a:cubicBezTo>
                      <a:pt x="177" y="1108"/>
                      <a:pt x="73" y="1157"/>
                      <a:pt x="69" y="1240"/>
                    </a:cubicBezTo>
                    <a:cubicBezTo>
                      <a:pt x="65" y="1318"/>
                      <a:pt x="149" y="1410"/>
                      <a:pt x="311" y="1505"/>
                    </a:cubicBezTo>
                    <a:cubicBezTo>
                      <a:pt x="388" y="1468"/>
                      <a:pt x="504" y="1396"/>
                      <a:pt x="509" y="1343"/>
                    </a:cubicBezTo>
                    <a:lnTo>
                      <a:pt x="560" y="1348"/>
                    </a:lnTo>
                    <a:cubicBezTo>
                      <a:pt x="553" y="1429"/>
                      <a:pt x="422" y="1505"/>
                      <a:pt x="358" y="1539"/>
                    </a:cubicBezTo>
                    <a:cubicBezTo>
                      <a:pt x="408" y="1574"/>
                      <a:pt x="502" y="1632"/>
                      <a:pt x="585" y="1632"/>
                    </a:cubicBezTo>
                    <a:cubicBezTo>
                      <a:pt x="644" y="1632"/>
                      <a:pt x="686" y="1602"/>
                      <a:pt x="714" y="1542"/>
                    </a:cubicBezTo>
                    <a:cubicBezTo>
                      <a:pt x="714" y="1541"/>
                      <a:pt x="714" y="1541"/>
                      <a:pt x="714" y="1541"/>
                    </a:cubicBezTo>
                    <a:lnTo>
                      <a:pt x="712" y="1536"/>
                    </a:lnTo>
                    <a:close/>
                    <a:moveTo>
                      <a:pt x="362" y="708"/>
                    </a:moveTo>
                    <a:lnTo>
                      <a:pt x="333" y="665"/>
                    </a:lnTo>
                    <a:cubicBezTo>
                      <a:pt x="384" y="630"/>
                      <a:pt x="513" y="519"/>
                      <a:pt x="501" y="425"/>
                    </a:cubicBezTo>
                    <a:lnTo>
                      <a:pt x="552" y="419"/>
                    </a:lnTo>
                    <a:cubicBezTo>
                      <a:pt x="571" y="563"/>
                      <a:pt x="370" y="702"/>
                      <a:pt x="362" y="708"/>
                    </a:cubicBezTo>
                    <a:close/>
                  </a:path>
                </a:pathLst>
              </a:custGeom>
              <a:grpFill/>
              <a:ln w="0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latin typeface="+mn-lt"/>
                </a:endParaRPr>
              </a:p>
            </p:txBody>
          </p:sp>
        </p:grpSp>
      </p:grpSp>
      <p:sp>
        <p:nvSpPr>
          <p:cNvPr id="13" name="Titel 1">
            <a:extLst>
              <a:ext uri="{FF2B5EF4-FFF2-40B4-BE49-F238E27FC236}">
                <a16:creationId xmlns:a16="http://schemas.microsoft.com/office/drawing/2014/main" id="{0ECDDA2D-E87F-4A69-897E-2930B4B658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7680" y="3319401"/>
            <a:ext cx="7020120" cy="332399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870346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genda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FA26E2-6AC9-4BFE-82F3-5B37293BE51B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88919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4.02.202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8919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647E8F-5052-4581-98D0-7C32D5A45346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8919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8919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9967132-7FB3-44D9-B340-D5C95C1152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00" y="1453077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5" name="Textplatzhalter 44">
            <a:extLst>
              <a:ext uri="{FF2B5EF4-FFF2-40B4-BE49-F238E27FC236}">
                <a16:creationId xmlns:a16="http://schemas.microsoft.com/office/drawing/2014/main" id="{EC3DBA1C-553F-47F9-8206-18BF8A76B5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00" y="2729023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2" name="Textplatzhalter 61">
            <a:extLst>
              <a:ext uri="{FF2B5EF4-FFF2-40B4-BE49-F238E27FC236}">
                <a16:creationId xmlns:a16="http://schemas.microsoft.com/office/drawing/2014/main" id="{D76EF870-C0D1-4E65-ACDA-AC0C4DCD67D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00" y="4004966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1" name="Textplatzhalter 60">
            <a:extLst>
              <a:ext uri="{FF2B5EF4-FFF2-40B4-BE49-F238E27FC236}">
                <a16:creationId xmlns:a16="http://schemas.microsoft.com/office/drawing/2014/main" id="{48E6316B-2069-4750-BF15-CC3D33F8A2F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00" y="5280910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3" name="Textplatzhalter 72">
            <a:extLst>
              <a:ext uri="{FF2B5EF4-FFF2-40B4-BE49-F238E27FC236}">
                <a16:creationId xmlns:a16="http://schemas.microsoft.com/office/drawing/2014/main" id="{E9AA332B-9DF1-4240-9A4C-9FDC17CE14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37259" y="1453077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2" name="Textplatzhalter 71">
            <a:extLst>
              <a:ext uri="{FF2B5EF4-FFF2-40B4-BE49-F238E27FC236}">
                <a16:creationId xmlns:a16="http://schemas.microsoft.com/office/drawing/2014/main" id="{E172CBCD-D32E-4101-91DA-372D4E6741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37259" y="2729023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3" name="Textplatzhalter 62">
            <a:extLst>
              <a:ext uri="{FF2B5EF4-FFF2-40B4-BE49-F238E27FC236}">
                <a16:creationId xmlns:a16="http://schemas.microsoft.com/office/drawing/2014/main" id="{EE8D2679-F21D-4AEE-BACE-016F73C14CB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7259" y="4004966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4" name="Textplatzhalter 73">
            <a:extLst>
              <a:ext uri="{FF2B5EF4-FFF2-40B4-BE49-F238E27FC236}">
                <a16:creationId xmlns:a16="http://schemas.microsoft.com/office/drawing/2014/main" id="{C5F561E1-F8AF-40EB-A833-95BC6D6C8F3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37259" y="5280910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1076" y="166131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6" name="Textplatzhalter 34">
            <a:extLst>
              <a:ext uri="{FF2B5EF4-FFF2-40B4-BE49-F238E27FC236}">
                <a16:creationId xmlns:a16="http://schemas.microsoft.com/office/drawing/2014/main" id="{DF78CF7E-ECE5-4B2D-A483-3267534656C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57791" y="166131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7" name="Textplatzhalter 34">
            <a:extLst>
              <a:ext uri="{FF2B5EF4-FFF2-40B4-BE49-F238E27FC236}">
                <a16:creationId xmlns:a16="http://schemas.microsoft.com/office/drawing/2014/main" id="{E3161E5D-F239-4697-B41B-8EA5EA589B4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21076" y="293921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8" name="Textplatzhalter 34">
            <a:extLst>
              <a:ext uri="{FF2B5EF4-FFF2-40B4-BE49-F238E27FC236}">
                <a16:creationId xmlns:a16="http://schemas.microsoft.com/office/drawing/2014/main" id="{92B7B467-A632-4523-BEC0-4C986340B0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57791" y="293921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9" name="Textplatzhalter 34">
            <a:extLst>
              <a:ext uri="{FF2B5EF4-FFF2-40B4-BE49-F238E27FC236}">
                <a16:creationId xmlns:a16="http://schemas.microsoft.com/office/drawing/2014/main" id="{D0B42C69-ACA8-4476-9DC5-005181EF4C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21076" y="4217111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40" name="Textplatzhalter 34">
            <a:extLst>
              <a:ext uri="{FF2B5EF4-FFF2-40B4-BE49-F238E27FC236}">
                <a16:creationId xmlns:a16="http://schemas.microsoft.com/office/drawing/2014/main" id="{C04219E5-7AE1-4571-882B-172196EFDF9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57791" y="4217111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41" name="Textplatzhalter 34">
            <a:extLst>
              <a:ext uri="{FF2B5EF4-FFF2-40B4-BE49-F238E27FC236}">
                <a16:creationId xmlns:a16="http://schemas.microsoft.com/office/drawing/2014/main" id="{E124A814-FF1D-44B1-9CCF-59D06311606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21076" y="549500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42" name="Textplatzhalter 34">
            <a:extLst>
              <a:ext uri="{FF2B5EF4-FFF2-40B4-BE49-F238E27FC236}">
                <a16:creationId xmlns:a16="http://schemas.microsoft.com/office/drawing/2014/main" id="{3B7C896C-7C0D-4D29-A70A-A8A93AB19C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57791" y="549500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3092" y="1616864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3" name="Textplatzhalter 51">
            <a:extLst>
              <a:ext uri="{FF2B5EF4-FFF2-40B4-BE49-F238E27FC236}">
                <a16:creationId xmlns:a16="http://schemas.microsoft.com/office/drawing/2014/main" id="{662C58B3-C6CB-40C4-9846-6885043CEAE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517664" y="1616864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4" name="Textplatzhalter 51">
            <a:extLst>
              <a:ext uri="{FF2B5EF4-FFF2-40B4-BE49-F238E27FC236}">
                <a16:creationId xmlns:a16="http://schemas.microsoft.com/office/drawing/2014/main" id="{BBC47D04-2291-4541-ABDF-3BDD7D89033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3092" y="2899151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5" name="Textplatzhalter 51">
            <a:extLst>
              <a:ext uri="{FF2B5EF4-FFF2-40B4-BE49-F238E27FC236}">
                <a16:creationId xmlns:a16="http://schemas.microsoft.com/office/drawing/2014/main" id="{9226F664-073C-478A-8241-1E5CABD99A8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17664" y="2899151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6" name="Textplatzhalter 51">
            <a:extLst>
              <a:ext uri="{FF2B5EF4-FFF2-40B4-BE49-F238E27FC236}">
                <a16:creationId xmlns:a16="http://schemas.microsoft.com/office/drawing/2014/main" id="{1A3A934F-49BD-4AD8-99B7-4931CC4FE56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23092" y="418143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7" name="Textplatzhalter 51">
            <a:extLst>
              <a:ext uri="{FF2B5EF4-FFF2-40B4-BE49-F238E27FC236}">
                <a16:creationId xmlns:a16="http://schemas.microsoft.com/office/drawing/2014/main" id="{9EEA1254-1634-410B-B7D5-F19740479B1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17664" y="418143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8" name="Textplatzhalter 51">
            <a:extLst>
              <a:ext uri="{FF2B5EF4-FFF2-40B4-BE49-F238E27FC236}">
                <a16:creationId xmlns:a16="http://schemas.microsoft.com/office/drawing/2014/main" id="{847DD741-14CE-4133-B69A-0617633EF17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3092" y="5463725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9" name="Textplatzhalter 51">
            <a:extLst>
              <a:ext uri="{FF2B5EF4-FFF2-40B4-BE49-F238E27FC236}">
                <a16:creationId xmlns:a16="http://schemas.microsoft.com/office/drawing/2014/main" id="{F4FC7902-AE67-46D0-AF05-BAD44F5D755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517664" y="5463725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75" name="Inhaltsplatzhalter 9">
            <a:extLst>
              <a:ext uri="{FF2B5EF4-FFF2-40B4-BE49-F238E27FC236}">
                <a16:creationId xmlns:a16="http://schemas.microsoft.com/office/drawing/2014/main" id="{F0946075-0AC7-48A3-8D0F-123C98FFD6E5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1546285" y="291677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6" name="Inhaltsplatzhalter 9">
            <a:extLst>
              <a:ext uri="{FF2B5EF4-FFF2-40B4-BE49-F238E27FC236}">
                <a16:creationId xmlns:a16="http://schemas.microsoft.com/office/drawing/2014/main" id="{B58AB14C-CDD4-4AAB-904A-52D84FAE9367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7470904" y="291677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7" name="Inhaltsplatzhalter 9">
            <a:extLst>
              <a:ext uri="{FF2B5EF4-FFF2-40B4-BE49-F238E27FC236}">
                <a16:creationId xmlns:a16="http://schemas.microsoft.com/office/drawing/2014/main" id="{229D505F-0EB3-46B1-BD92-CDF8A11C324E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1546285" y="164015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8" name="Inhaltsplatzhalter 9">
            <a:extLst>
              <a:ext uri="{FF2B5EF4-FFF2-40B4-BE49-F238E27FC236}">
                <a16:creationId xmlns:a16="http://schemas.microsoft.com/office/drawing/2014/main" id="{321D1B94-2D21-41E1-A777-3DC603FBD847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7470904" y="164015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9" name="Inhaltsplatzhalter 9">
            <a:extLst>
              <a:ext uri="{FF2B5EF4-FFF2-40B4-BE49-F238E27FC236}">
                <a16:creationId xmlns:a16="http://schemas.microsoft.com/office/drawing/2014/main" id="{C7600883-7FF9-4E2D-AD32-649383774589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1546285" y="419339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0" name="Inhaltsplatzhalter 9">
            <a:extLst>
              <a:ext uri="{FF2B5EF4-FFF2-40B4-BE49-F238E27FC236}">
                <a16:creationId xmlns:a16="http://schemas.microsoft.com/office/drawing/2014/main" id="{C15AA9A2-7395-47A8-A1A0-37D3FEFF7A48}"/>
              </a:ext>
            </a:extLst>
          </p:cNvPr>
          <p:cNvSpPr>
            <a:spLocks noGrp="1"/>
          </p:cNvSpPr>
          <p:nvPr>
            <p:ph sz="quarter" idx="52" hasCustomPrompt="1"/>
          </p:nvPr>
        </p:nvSpPr>
        <p:spPr>
          <a:xfrm>
            <a:off x="7470904" y="419339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1" name="Inhaltsplatzhalter 9">
            <a:extLst>
              <a:ext uri="{FF2B5EF4-FFF2-40B4-BE49-F238E27FC236}">
                <a16:creationId xmlns:a16="http://schemas.microsoft.com/office/drawing/2014/main" id="{AE55F5E1-5331-469D-88FF-C70B9DE6E480}"/>
              </a:ext>
            </a:extLst>
          </p:cNvPr>
          <p:cNvSpPr>
            <a:spLocks noGrp="1"/>
          </p:cNvSpPr>
          <p:nvPr>
            <p:ph sz="quarter" idx="53" hasCustomPrompt="1"/>
          </p:nvPr>
        </p:nvSpPr>
        <p:spPr>
          <a:xfrm>
            <a:off x="1546285" y="547001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2" name="Inhaltsplatzhalter 9">
            <a:extLst>
              <a:ext uri="{FF2B5EF4-FFF2-40B4-BE49-F238E27FC236}">
                <a16:creationId xmlns:a16="http://schemas.microsoft.com/office/drawing/2014/main" id="{99528CFB-C5EA-4EC6-8C5D-7EA239BE48D9}"/>
              </a:ext>
            </a:extLst>
          </p:cNvPr>
          <p:cNvSpPr>
            <a:spLocks noGrp="1"/>
          </p:cNvSpPr>
          <p:nvPr>
            <p:ph sz="quarter" idx="54" hasCustomPrompt="1"/>
          </p:nvPr>
        </p:nvSpPr>
        <p:spPr>
          <a:xfrm>
            <a:off x="7470904" y="547001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4" name="Fußzeilenplatzhalter 3">
            <a:extLst>
              <a:ext uri="{FF2B5EF4-FFF2-40B4-BE49-F238E27FC236}">
                <a16:creationId xmlns:a16="http://schemas.microsoft.com/office/drawing/2014/main" id="{FD2B0766-60EA-44DA-B183-D7D8F06811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66986" y="6584720"/>
            <a:ext cx="9058033" cy="13960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89194"/>
                </a:solidFill>
              </a:rPr>
              <a:t>ABBA | Vortragende*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8919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44842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_a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1" y="68262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8B9819-F136-4869-839D-BB089F223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8555" y="1398227"/>
            <a:ext cx="7092583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de-DE"/>
              <a:t>Titelfolie Lorem</a:t>
            </a:r>
            <a:br>
              <a:rPr lang="de-DE"/>
            </a:br>
            <a:r>
              <a:rPr lang="de-DE"/>
              <a:t>Zweite Zeile Ipsum</a:t>
            </a:r>
            <a:endParaRPr lang="en-US"/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0A6A1785-717B-4105-AEF1-3558EA09322A}"/>
              </a:ext>
            </a:extLst>
          </p:cNvPr>
          <p:cNvCxnSpPr>
            <a:cxnSpLocks/>
          </p:cNvCxnSpPr>
          <p:nvPr userDrawn="1"/>
        </p:nvCxnSpPr>
        <p:spPr>
          <a:xfrm>
            <a:off x="4548555" y="1238116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B10034"/>
              </a:solidFill>
            </a:endParaRPr>
          </a:p>
        </p:txBody>
      </p:sp>
      <p:cxnSp>
        <p:nvCxnSpPr>
          <p:cNvPr id="137" name="Gerader Verbinder 136">
            <a:extLst>
              <a:ext uri="{FF2B5EF4-FFF2-40B4-BE49-F238E27FC236}">
                <a16:creationId xmlns:a16="http://schemas.microsoft.com/office/drawing/2014/main" id="{9F27BDD9-D063-403B-A5F1-57C38EF89F35}"/>
              </a:ext>
            </a:extLst>
          </p:cNvPr>
          <p:cNvCxnSpPr>
            <a:cxnSpLocks/>
          </p:cNvCxnSpPr>
          <p:nvPr userDrawn="1"/>
        </p:nvCxnSpPr>
        <p:spPr>
          <a:xfrm>
            <a:off x="4548554" y="1238116"/>
            <a:ext cx="709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platzhalter 38">
            <a:extLst>
              <a:ext uri="{FF2B5EF4-FFF2-40B4-BE49-F238E27FC236}">
                <a16:creationId xmlns:a16="http://schemas.microsoft.com/office/drawing/2014/main" id="{8772F2C6-6216-40E2-961F-FE177F24D2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48557" y="2385194"/>
            <a:ext cx="7092583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Untertitel Lorem</a:t>
            </a:r>
            <a:br>
              <a:rPr lang="de-DE"/>
            </a:br>
            <a:r>
              <a:rPr lang="de-DE"/>
              <a:t>Zweite Zeile Ipsum</a:t>
            </a:r>
            <a:endParaRPr lang="en-US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034803B6-1E5B-CE4E-A696-6675417BFBE3}"/>
              </a:ext>
            </a:extLst>
          </p:cNvPr>
          <p:cNvSpPr txBox="1"/>
          <p:nvPr userDrawn="1"/>
        </p:nvSpPr>
        <p:spPr>
          <a:xfrm>
            <a:off x="4533901" y="2879765"/>
            <a:ext cx="7086599" cy="24324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sz="1200" b="1" dirty="0">
              <a:solidFill>
                <a:schemeClr val="accent3">
                  <a:lumMod val="75000"/>
                </a:schemeClr>
              </a:solidFill>
            </a:endParaRP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Project ABBA 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de-DE" sz="1200" b="0" dirty="0">
              <a:solidFill>
                <a:srgbClr val="4B4B4B"/>
              </a:solidFill>
            </a:endParaRP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University </a:t>
            </a:r>
            <a:r>
              <a:rPr lang="de-DE" sz="1200" b="0" dirty="0" err="1">
                <a:solidFill>
                  <a:srgbClr val="4B4B4B"/>
                </a:solidFill>
              </a:rPr>
              <a:t>of</a:t>
            </a:r>
            <a:r>
              <a:rPr lang="de-DE" sz="1200" b="0" dirty="0">
                <a:solidFill>
                  <a:srgbClr val="4B4B4B"/>
                </a:solidFill>
              </a:rPr>
              <a:t> Hohenheim, Stuttgart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Karlsruher Institute </a:t>
            </a:r>
            <a:r>
              <a:rPr lang="de-DE" sz="1200" b="0" dirty="0" err="1">
                <a:solidFill>
                  <a:srgbClr val="4B4B4B"/>
                </a:solidFill>
              </a:rPr>
              <a:t>for</a:t>
            </a:r>
            <a:r>
              <a:rPr lang="de-DE" sz="1200" b="0" dirty="0">
                <a:solidFill>
                  <a:srgbClr val="4B4B4B"/>
                </a:solidFill>
              </a:rPr>
              <a:t> Technology, Karlsruhe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University </a:t>
            </a:r>
            <a:r>
              <a:rPr lang="de-DE" sz="1200" b="0" dirty="0" err="1">
                <a:solidFill>
                  <a:srgbClr val="4B4B4B"/>
                </a:solidFill>
              </a:rPr>
              <a:t>of</a:t>
            </a:r>
            <a:r>
              <a:rPr lang="de-DE" sz="1200" b="0" dirty="0">
                <a:solidFill>
                  <a:srgbClr val="4B4B4B"/>
                </a:solidFill>
              </a:rPr>
              <a:t> Bayreuth, Bayreuth</a:t>
            </a:r>
          </a:p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0" dirty="0">
                <a:solidFill>
                  <a:srgbClr val="4B4B4B"/>
                </a:solidFill>
              </a:rPr>
              <a:t>Frankfurt University </a:t>
            </a:r>
            <a:r>
              <a:rPr lang="de-DE" sz="1200" b="0" dirty="0" err="1">
                <a:solidFill>
                  <a:srgbClr val="4B4B4B"/>
                </a:solidFill>
              </a:rPr>
              <a:t>of</a:t>
            </a:r>
            <a:r>
              <a:rPr lang="de-DE" sz="1200" b="0" dirty="0">
                <a:solidFill>
                  <a:srgbClr val="4B4B4B"/>
                </a:solidFill>
              </a:rPr>
              <a:t> Applied Science, Frankfur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 dirty="0">
              <a:solidFill>
                <a:schemeClr val="accent3">
                  <a:lumMod val="75000"/>
                </a:schemeClr>
              </a:solidFill>
            </a:endParaRPr>
          </a:p>
          <a:p>
            <a:pPr marL="0" indent="0" algn="l">
              <a:buNone/>
            </a:pPr>
            <a:endParaRPr lang="de-DE" sz="120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886EA6AB-BE30-4118-A30A-9B995917C5BF}"/>
              </a:ext>
            </a:extLst>
          </p:cNvPr>
          <p:cNvSpPr txBox="1"/>
          <p:nvPr userDrawn="1"/>
        </p:nvSpPr>
        <p:spPr>
          <a:xfrm>
            <a:off x="4548554" y="5437050"/>
            <a:ext cx="3364380" cy="3656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de-DE" sz="1200">
                <a:solidFill>
                  <a:schemeClr val="tx2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fim-rc.de</a:t>
            </a:r>
            <a:endParaRPr lang="de-DE" sz="1200">
              <a:solidFill>
                <a:schemeClr val="tx2"/>
              </a:solidFill>
            </a:endParaRPr>
          </a:p>
          <a:p>
            <a:pPr lvl="0"/>
            <a:r>
              <a:rPr lang="de-DE" sz="1200">
                <a:solidFill>
                  <a:schemeClr val="tx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wirtschaftsinformatik.fraunhofer.de</a:t>
            </a:r>
            <a:endParaRPr lang="de-DE" sz="1200">
              <a:solidFill>
                <a:schemeClr val="tx2"/>
              </a:solidFill>
            </a:endParaRPr>
          </a:p>
          <a:p>
            <a:pPr marL="0" indent="0" algn="l">
              <a:buFont typeface="Wingdings" panose="05000000000000000000" pitchFamily="2" charset="2"/>
              <a:buNone/>
            </a:pPr>
            <a:endParaRPr lang="de-DE" sz="1400">
              <a:solidFill>
                <a:schemeClr val="tx2"/>
              </a:solidFill>
            </a:endParaRPr>
          </a:p>
        </p:txBody>
      </p:sp>
      <p:pic>
        <p:nvPicPr>
          <p:cNvPr id="21" name="Grafik 20" descr="Ein Bild, das Text, Schiefertafel enthält.&#10;&#10;Automatisch generierte Beschreibung">
            <a:extLst>
              <a:ext uri="{FF2B5EF4-FFF2-40B4-BE49-F238E27FC236}">
                <a16:creationId xmlns:a16="http://schemas.microsoft.com/office/drawing/2014/main" id="{D8810B87-4736-4543-A920-15DE7283C2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618"/>
          <a:stretch/>
        </p:blipFill>
        <p:spPr>
          <a:xfrm>
            <a:off x="0" y="0"/>
            <a:ext cx="4310708" cy="6858000"/>
          </a:xfrm>
          <a:prstGeom prst="rect">
            <a:avLst/>
          </a:prstGeom>
        </p:spPr>
      </p:pic>
      <p:pic>
        <p:nvPicPr>
          <p:cNvPr id="20" name="Grafik 19" descr="Ein Bild, das Text enthält.&#10;&#10;Automatisch generierte Beschreibung">
            <a:extLst>
              <a:ext uri="{FF2B5EF4-FFF2-40B4-BE49-F238E27FC236}">
                <a16:creationId xmlns:a16="http://schemas.microsoft.com/office/drawing/2014/main" id="{E0FBF777-2D07-4643-A14C-B34B1D1098C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9458" y="495728"/>
            <a:ext cx="2305574" cy="461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8175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Z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genda mit Zeitbezug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5C4E7A-D4D9-4E2F-9C54-CF93C4789B1B}" type="datetime1">
              <a:rPr lang="de-DE" smtClean="0"/>
              <a:t>14.02.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09A5E2-DD82-496C-9C5E-8489E116EE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889194"/>
                </a:solidFill>
              </a:rPr>
              <a:t>ABBA </a:t>
            </a:r>
            <a:r>
              <a:rPr lang="de-DE"/>
              <a:t>| Vortragende*r 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9967132-7FB3-44D9-B340-D5C95C1152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847" y="1449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7123" y="1553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9139" y="1533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77" name="Inhaltsplatzhalter 9">
            <a:extLst>
              <a:ext uri="{FF2B5EF4-FFF2-40B4-BE49-F238E27FC236}">
                <a16:creationId xmlns:a16="http://schemas.microsoft.com/office/drawing/2014/main" id="{229D505F-0EB3-46B1-BD92-CDF8A11C324E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1552331" y="1539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3" name="Inhaltsplatzhalter 9">
            <a:extLst>
              <a:ext uri="{FF2B5EF4-FFF2-40B4-BE49-F238E27FC236}">
                <a16:creationId xmlns:a16="http://schemas.microsoft.com/office/drawing/2014/main" id="{17AE42E5-158A-478C-9789-64472AF09C90}"/>
              </a:ext>
            </a:extLst>
          </p:cNvPr>
          <p:cNvSpPr>
            <a:spLocks noGrp="1"/>
          </p:cNvSpPr>
          <p:nvPr>
            <p:ph sz="quarter" idx="54" hasCustomPrompt="1"/>
          </p:nvPr>
        </p:nvSpPr>
        <p:spPr>
          <a:xfrm>
            <a:off x="5760000" y="1539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4" name="Textplatzhalter 34">
            <a:extLst>
              <a:ext uri="{FF2B5EF4-FFF2-40B4-BE49-F238E27FC236}">
                <a16:creationId xmlns:a16="http://schemas.microsoft.com/office/drawing/2014/main" id="{5890096B-CE06-4B93-A46A-51EBAB485CC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937231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46" name="Inhaltsplatzhalter 9">
            <a:extLst>
              <a:ext uri="{FF2B5EF4-FFF2-40B4-BE49-F238E27FC236}">
                <a16:creationId xmlns:a16="http://schemas.microsoft.com/office/drawing/2014/main" id="{36C4410E-166F-4B7F-9C6D-41BC42DC603D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8684308" y="1539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7" name="Textplatzhalter 34">
            <a:extLst>
              <a:ext uri="{FF2B5EF4-FFF2-40B4-BE49-F238E27FC236}">
                <a16:creationId xmlns:a16="http://schemas.microsoft.com/office/drawing/2014/main" id="{3521441E-F90E-4D97-A0BF-F6931EB7093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905846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48" name="Textplatzhalter 32">
            <a:extLst>
              <a:ext uri="{FF2B5EF4-FFF2-40B4-BE49-F238E27FC236}">
                <a16:creationId xmlns:a16="http://schemas.microsoft.com/office/drawing/2014/main" id="{710FD8FB-44A5-4E60-BFA5-CC6B0551A7F4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55509" y="2066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9" name="Textplatzhalter 34">
            <a:extLst>
              <a:ext uri="{FF2B5EF4-FFF2-40B4-BE49-F238E27FC236}">
                <a16:creationId xmlns:a16="http://schemas.microsoft.com/office/drawing/2014/main" id="{FACF348C-FB52-450C-96D5-D761EE93890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725785" y="2170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50" name="Textplatzhalter 51">
            <a:extLst>
              <a:ext uri="{FF2B5EF4-FFF2-40B4-BE49-F238E27FC236}">
                <a16:creationId xmlns:a16="http://schemas.microsoft.com/office/drawing/2014/main" id="{396278A5-AEC5-49D0-BAD3-07EA10DB104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7801" y="2151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1" name="Inhaltsplatzhalter 9">
            <a:extLst>
              <a:ext uri="{FF2B5EF4-FFF2-40B4-BE49-F238E27FC236}">
                <a16:creationId xmlns:a16="http://schemas.microsoft.com/office/drawing/2014/main" id="{84DD963F-1914-487D-AB8F-3D3384818A3F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1550993" y="2156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0" name="Inhaltsplatzhalter 9">
            <a:extLst>
              <a:ext uri="{FF2B5EF4-FFF2-40B4-BE49-F238E27FC236}">
                <a16:creationId xmlns:a16="http://schemas.microsoft.com/office/drawing/2014/main" id="{314DD3BE-369B-46E6-9686-0434D228AC0D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5758662" y="2156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4" name="Textplatzhalter 34">
            <a:extLst>
              <a:ext uri="{FF2B5EF4-FFF2-40B4-BE49-F238E27FC236}">
                <a16:creationId xmlns:a16="http://schemas.microsoft.com/office/drawing/2014/main" id="{825B2A1F-E37B-4E4E-9C9F-377CA4DFA99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935893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65" name="Inhaltsplatzhalter 9">
            <a:extLst>
              <a:ext uri="{FF2B5EF4-FFF2-40B4-BE49-F238E27FC236}">
                <a16:creationId xmlns:a16="http://schemas.microsoft.com/office/drawing/2014/main" id="{C084EE12-62C6-4961-AD51-F63CBE5A4CDA}"/>
              </a:ext>
            </a:extLst>
          </p:cNvPr>
          <p:cNvSpPr>
            <a:spLocks noGrp="1"/>
          </p:cNvSpPr>
          <p:nvPr>
            <p:ph sz="quarter" idx="64" hasCustomPrompt="1"/>
          </p:nvPr>
        </p:nvSpPr>
        <p:spPr>
          <a:xfrm>
            <a:off x="8682970" y="2156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6" name="Textplatzhalter 34">
            <a:extLst>
              <a:ext uri="{FF2B5EF4-FFF2-40B4-BE49-F238E27FC236}">
                <a16:creationId xmlns:a16="http://schemas.microsoft.com/office/drawing/2014/main" id="{DFC088F1-D484-4855-9CA4-24B851808FD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8904508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67" name="Textplatzhalter 32">
            <a:extLst>
              <a:ext uri="{FF2B5EF4-FFF2-40B4-BE49-F238E27FC236}">
                <a16:creationId xmlns:a16="http://schemas.microsoft.com/office/drawing/2014/main" id="{C4FD40E8-C6A7-4BDB-B195-68E0670DAC4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55509" y="2682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8" name="Textplatzhalter 32">
            <a:extLst>
              <a:ext uri="{FF2B5EF4-FFF2-40B4-BE49-F238E27FC236}">
                <a16:creationId xmlns:a16="http://schemas.microsoft.com/office/drawing/2014/main" id="{4D6DA363-BD58-4B50-9EFC-AFCC81C3CD4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55509" y="32976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9" name="Textplatzhalter 32">
            <a:extLst>
              <a:ext uri="{FF2B5EF4-FFF2-40B4-BE49-F238E27FC236}">
                <a16:creationId xmlns:a16="http://schemas.microsoft.com/office/drawing/2014/main" id="{735CA0CC-8781-4D64-9B38-164657802215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55509" y="39132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0" name="Textplatzhalter 32">
            <a:extLst>
              <a:ext uri="{FF2B5EF4-FFF2-40B4-BE49-F238E27FC236}">
                <a16:creationId xmlns:a16="http://schemas.microsoft.com/office/drawing/2014/main" id="{9E526531-BD00-4913-A003-1CFDDA2B9002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55509" y="45288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1" name="Textplatzhalter 32">
            <a:extLst>
              <a:ext uri="{FF2B5EF4-FFF2-40B4-BE49-F238E27FC236}">
                <a16:creationId xmlns:a16="http://schemas.microsoft.com/office/drawing/2014/main" id="{2A7538D1-CB34-4E76-ADC0-CBE0BF1D08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55509" y="5144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3" name="Textplatzhalter 32">
            <a:extLst>
              <a:ext uri="{FF2B5EF4-FFF2-40B4-BE49-F238E27FC236}">
                <a16:creationId xmlns:a16="http://schemas.microsoft.com/office/drawing/2014/main" id="{23EDE4BB-056F-48DA-9ED7-F4BB9881B577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55509" y="5760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4" name="Textplatzhalter 34">
            <a:extLst>
              <a:ext uri="{FF2B5EF4-FFF2-40B4-BE49-F238E27FC236}">
                <a16:creationId xmlns:a16="http://schemas.microsoft.com/office/drawing/2014/main" id="{218CFB87-C4D6-4412-9CC1-F0ACCCD4348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1725785" y="2786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85" name="Textplatzhalter 51">
            <a:extLst>
              <a:ext uri="{FF2B5EF4-FFF2-40B4-BE49-F238E27FC236}">
                <a16:creationId xmlns:a16="http://schemas.microsoft.com/office/drawing/2014/main" id="{11D606FC-E925-4633-9212-D580DA4DDA1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27801" y="2766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86" name="Inhaltsplatzhalter 9">
            <a:extLst>
              <a:ext uri="{FF2B5EF4-FFF2-40B4-BE49-F238E27FC236}">
                <a16:creationId xmlns:a16="http://schemas.microsoft.com/office/drawing/2014/main" id="{2F1BD2CF-2D37-4E1B-A917-7246A44EA679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1550993" y="2772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7" name="Inhaltsplatzhalter 9">
            <a:extLst>
              <a:ext uri="{FF2B5EF4-FFF2-40B4-BE49-F238E27FC236}">
                <a16:creationId xmlns:a16="http://schemas.microsoft.com/office/drawing/2014/main" id="{8A6B9C23-A1C5-4587-987B-28EF09DA7CE5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5758662" y="2772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8" name="Textplatzhalter 34">
            <a:extLst>
              <a:ext uri="{FF2B5EF4-FFF2-40B4-BE49-F238E27FC236}">
                <a16:creationId xmlns:a16="http://schemas.microsoft.com/office/drawing/2014/main" id="{2EA21878-2CEA-4860-8B09-6592A648268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935893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89" name="Inhaltsplatzhalter 9">
            <a:extLst>
              <a:ext uri="{FF2B5EF4-FFF2-40B4-BE49-F238E27FC236}">
                <a16:creationId xmlns:a16="http://schemas.microsoft.com/office/drawing/2014/main" id="{41B03C3C-26E5-4AC1-A453-A96C67324A98}"/>
              </a:ext>
            </a:extLst>
          </p:cNvPr>
          <p:cNvSpPr>
            <a:spLocks noGrp="1"/>
          </p:cNvSpPr>
          <p:nvPr>
            <p:ph sz="quarter" idx="77" hasCustomPrompt="1"/>
          </p:nvPr>
        </p:nvSpPr>
        <p:spPr>
          <a:xfrm>
            <a:off x="8682970" y="2772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0" name="Textplatzhalter 34">
            <a:extLst>
              <a:ext uri="{FF2B5EF4-FFF2-40B4-BE49-F238E27FC236}">
                <a16:creationId xmlns:a16="http://schemas.microsoft.com/office/drawing/2014/main" id="{A3F55094-C7B5-45EE-8CC6-BA8048DD50CC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904508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91" name="Textplatzhalter 34">
            <a:extLst>
              <a:ext uri="{FF2B5EF4-FFF2-40B4-BE49-F238E27FC236}">
                <a16:creationId xmlns:a16="http://schemas.microsoft.com/office/drawing/2014/main" id="{747D23DA-6B95-4FE5-97A9-0024CF41F142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725785" y="34020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92" name="Textplatzhalter 51">
            <a:extLst>
              <a:ext uri="{FF2B5EF4-FFF2-40B4-BE49-F238E27FC236}">
                <a16:creationId xmlns:a16="http://schemas.microsoft.com/office/drawing/2014/main" id="{26182251-C70E-487E-A3EE-7B77717696F6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627801" y="33822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93" name="Inhaltsplatzhalter 9">
            <a:extLst>
              <a:ext uri="{FF2B5EF4-FFF2-40B4-BE49-F238E27FC236}">
                <a16:creationId xmlns:a16="http://schemas.microsoft.com/office/drawing/2014/main" id="{A44EFC04-7E0B-4C61-AAD1-E6A8B0C02ED9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1550993" y="33876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4" name="Inhaltsplatzhalter 9">
            <a:extLst>
              <a:ext uri="{FF2B5EF4-FFF2-40B4-BE49-F238E27FC236}">
                <a16:creationId xmlns:a16="http://schemas.microsoft.com/office/drawing/2014/main" id="{6B2BC7F3-D9B0-4413-881B-297A030C2E37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5758662" y="33876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5" name="Textplatzhalter 34">
            <a:extLst>
              <a:ext uri="{FF2B5EF4-FFF2-40B4-BE49-F238E27FC236}">
                <a16:creationId xmlns:a16="http://schemas.microsoft.com/office/drawing/2014/main" id="{75C77310-22B1-4803-A446-877791B5F506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935893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96" name="Inhaltsplatzhalter 9">
            <a:extLst>
              <a:ext uri="{FF2B5EF4-FFF2-40B4-BE49-F238E27FC236}">
                <a16:creationId xmlns:a16="http://schemas.microsoft.com/office/drawing/2014/main" id="{0E76A311-CDB1-4A34-A184-52802DFEB4CF}"/>
              </a:ext>
            </a:extLst>
          </p:cNvPr>
          <p:cNvSpPr>
            <a:spLocks noGrp="1"/>
          </p:cNvSpPr>
          <p:nvPr>
            <p:ph sz="quarter" idx="84" hasCustomPrompt="1"/>
          </p:nvPr>
        </p:nvSpPr>
        <p:spPr>
          <a:xfrm>
            <a:off x="8682970" y="33876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7" name="Textplatzhalter 34">
            <a:extLst>
              <a:ext uri="{FF2B5EF4-FFF2-40B4-BE49-F238E27FC236}">
                <a16:creationId xmlns:a16="http://schemas.microsoft.com/office/drawing/2014/main" id="{AA4ADE18-E6AE-40A5-9A46-7C9AE604936B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8904508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98" name="Textplatzhalter 34">
            <a:extLst>
              <a:ext uri="{FF2B5EF4-FFF2-40B4-BE49-F238E27FC236}">
                <a16:creationId xmlns:a16="http://schemas.microsoft.com/office/drawing/2014/main" id="{393B03C4-338A-4DAD-912F-3DEBEA3C9B62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1725785" y="40176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99" name="Textplatzhalter 51">
            <a:extLst>
              <a:ext uri="{FF2B5EF4-FFF2-40B4-BE49-F238E27FC236}">
                <a16:creationId xmlns:a16="http://schemas.microsoft.com/office/drawing/2014/main" id="{EB0B5C89-328D-4B85-82AB-9BF7A0D14BD8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627801" y="39978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00" name="Inhaltsplatzhalter 9">
            <a:extLst>
              <a:ext uri="{FF2B5EF4-FFF2-40B4-BE49-F238E27FC236}">
                <a16:creationId xmlns:a16="http://schemas.microsoft.com/office/drawing/2014/main" id="{B5B36F74-E228-4115-814F-E92B66DDDB59}"/>
              </a:ext>
            </a:extLst>
          </p:cNvPr>
          <p:cNvSpPr>
            <a:spLocks noGrp="1"/>
          </p:cNvSpPr>
          <p:nvPr>
            <p:ph sz="quarter" idx="88" hasCustomPrompt="1"/>
          </p:nvPr>
        </p:nvSpPr>
        <p:spPr>
          <a:xfrm>
            <a:off x="1550993" y="40032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1" name="Inhaltsplatzhalter 9">
            <a:extLst>
              <a:ext uri="{FF2B5EF4-FFF2-40B4-BE49-F238E27FC236}">
                <a16:creationId xmlns:a16="http://schemas.microsoft.com/office/drawing/2014/main" id="{5F8885E2-87F6-4A52-A89C-7806DA8B5400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5758662" y="40032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2" name="Textplatzhalter 34">
            <a:extLst>
              <a:ext uri="{FF2B5EF4-FFF2-40B4-BE49-F238E27FC236}">
                <a16:creationId xmlns:a16="http://schemas.microsoft.com/office/drawing/2014/main" id="{20937498-592B-4E68-9E53-88D9C1B5AF9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5935893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03" name="Inhaltsplatzhalter 9">
            <a:extLst>
              <a:ext uri="{FF2B5EF4-FFF2-40B4-BE49-F238E27FC236}">
                <a16:creationId xmlns:a16="http://schemas.microsoft.com/office/drawing/2014/main" id="{4DFD59D8-DC66-4BF5-A3F3-23BB2055E9D2}"/>
              </a:ext>
            </a:extLst>
          </p:cNvPr>
          <p:cNvSpPr>
            <a:spLocks noGrp="1"/>
          </p:cNvSpPr>
          <p:nvPr>
            <p:ph sz="quarter" idx="91" hasCustomPrompt="1"/>
          </p:nvPr>
        </p:nvSpPr>
        <p:spPr>
          <a:xfrm>
            <a:off x="8682970" y="40032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4" name="Textplatzhalter 34">
            <a:extLst>
              <a:ext uri="{FF2B5EF4-FFF2-40B4-BE49-F238E27FC236}">
                <a16:creationId xmlns:a16="http://schemas.microsoft.com/office/drawing/2014/main" id="{8473ADE6-F742-471C-B4DD-635C060B55C7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8904508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105" name="Textplatzhalter 34">
            <a:extLst>
              <a:ext uri="{FF2B5EF4-FFF2-40B4-BE49-F238E27FC236}">
                <a16:creationId xmlns:a16="http://schemas.microsoft.com/office/drawing/2014/main" id="{0A3DD65E-FCB5-4E1B-BCD8-219419551805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725785" y="46332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106" name="Textplatzhalter 51">
            <a:extLst>
              <a:ext uri="{FF2B5EF4-FFF2-40B4-BE49-F238E27FC236}">
                <a16:creationId xmlns:a16="http://schemas.microsoft.com/office/drawing/2014/main" id="{96CFB615-1E30-4863-91D4-96A1402468AB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627801" y="46134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07" name="Inhaltsplatzhalter 9">
            <a:extLst>
              <a:ext uri="{FF2B5EF4-FFF2-40B4-BE49-F238E27FC236}">
                <a16:creationId xmlns:a16="http://schemas.microsoft.com/office/drawing/2014/main" id="{578020C3-2AAD-432D-89F3-11B3A7902B8F}"/>
              </a:ext>
            </a:extLst>
          </p:cNvPr>
          <p:cNvSpPr>
            <a:spLocks noGrp="1"/>
          </p:cNvSpPr>
          <p:nvPr>
            <p:ph sz="quarter" idx="95" hasCustomPrompt="1"/>
          </p:nvPr>
        </p:nvSpPr>
        <p:spPr>
          <a:xfrm>
            <a:off x="1550993" y="46188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8" name="Inhaltsplatzhalter 9">
            <a:extLst>
              <a:ext uri="{FF2B5EF4-FFF2-40B4-BE49-F238E27FC236}">
                <a16:creationId xmlns:a16="http://schemas.microsoft.com/office/drawing/2014/main" id="{707AABF3-9623-4ABC-B87D-9FACC1E091E2}"/>
              </a:ext>
            </a:extLst>
          </p:cNvPr>
          <p:cNvSpPr>
            <a:spLocks noGrp="1"/>
          </p:cNvSpPr>
          <p:nvPr>
            <p:ph sz="quarter" idx="96" hasCustomPrompt="1"/>
          </p:nvPr>
        </p:nvSpPr>
        <p:spPr>
          <a:xfrm>
            <a:off x="5758662" y="46188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9" name="Textplatzhalter 34">
            <a:extLst>
              <a:ext uri="{FF2B5EF4-FFF2-40B4-BE49-F238E27FC236}">
                <a16:creationId xmlns:a16="http://schemas.microsoft.com/office/drawing/2014/main" id="{14F30F9F-3754-4AF7-95BF-2FAE7A9923C2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5935893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10" name="Inhaltsplatzhalter 9">
            <a:extLst>
              <a:ext uri="{FF2B5EF4-FFF2-40B4-BE49-F238E27FC236}">
                <a16:creationId xmlns:a16="http://schemas.microsoft.com/office/drawing/2014/main" id="{8B341007-1860-4BA9-BF84-4AD2512EBEFA}"/>
              </a:ext>
            </a:extLst>
          </p:cNvPr>
          <p:cNvSpPr>
            <a:spLocks noGrp="1"/>
          </p:cNvSpPr>
          <p:nvPr>
            <p:ph sz="quarter" idx="98" hasCustomPrompt="1"/>
          </p:nvPr>
        </p:nvSpPr>
        <p:spPr>
          <a:xfrm>
            <a:off x="8682970" y="46188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1" name="Textplatzhalter 34">
            <a:extLst>
              <a:ext uri="{FF2B5EF4-FFF2-40B4-BE49-F238E27FC236}">
                <a16:creationId xmlns:a16="http://schemas.microsoft.com/office/drawing/2014/main" id="{D447C4A6-7D26-4540-9E9D-6700F36BC66C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8904508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112" name="Textplatzhalter 34">
            <a:extLst>
              <a:ext uri="{FF2B5EF4-FFF2-40B4-BE49-F238E27FC236}">
                <a16:creationId xmlns:a16="http://schemas.microsoft.com/office/drawing/2014/main" id="{510DDB89-F752-4905-867B-3364FEF79C9C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1725785" y="5248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113" name="Textplatzhalter 51">
            <a:extLst>
              <a:ext uri="{FF2B5EF4-FFF2-40B4-BE49-F238E27FC236}">
                <a16:creationId xmlns:a16="http://schemas.microsoft.com/office/drawing/2014/main" id="{33D7A0AE-7003-46BF-8DA2-649AEE49F655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27801" y="5229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14" name="Inhaltsplatzhalter 9">
            <a:extLst>
              <a:ext uri="{FF2B5EF4-FFF2-40B4-BE49-F238E27FC236}">
                <a16:creationId xmlns:a16="http://schemas.microsoft.com/office/drawing/2014/main" id="{D97AC346-D6D8-4AFB-900F-36C382D9DF9A}"/>
              </a:ext>
            </a:extLst>
          </p:cNvPr>
          <p:cNvSpPr>
            <a:spLocks noGrp="1"/>
          </p:cNvSpPr>
          <p:nvPr>
            <p:ph sz="quarter" idx="102" hasCustomPrompt="1"/>
          </p:nvPr>
        </p:nvSpPr>
        <p:spPr>
          <a:xfrm>
            <a:off x="1550993" y="5234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5" name="Inhaltsplatzhalter 9">
            <a:extLst>
              <a:ext uri="{FF2B5EF4-FFF2-40B4-BE49-F238E27FC236}">
                <a16:creationId xmlns:a16="http://schemas.microsoft.com/office/drawing/2014/main" id="{30C4EEDE-0D9A-4C9D-84C7-EA59D72259AC}"/>
              </a:ext>
            </a:extLst>
          </p:cNvPr>
          <p:cNvSpPr>
            <a:spLocks noGrp="1"/>
          </p:cNvSpPr>
          <p:nvPr>
            <p:ph sz="quarter" idx="103" hasCustomPrompt="1"/>
          </p:nvPr>
        </p:nvSpPr>
        <p:spPr>
          <a:xfrm>
            <a:off x="5758662" y="5234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6" name="Textplatzhalter 34">
            <a:extLst>
              <a:ext uri="{FF2B5EF4-FFF2-40B4-BE49-F238E27FC236}">
                <a16:creationId xmlns:a16="http://schemas.microsoft.com/office/drawing/2014/main" id="{655423AB-6705-45AD-9BB3-0A2641B1B000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5935893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17" name="Inhaltsplatzhalter 9">
            <a:extLst>
              <a:ext uri="{FF2B5EF4-FFF2-40B4-BE49-F238E27FC236}">
                <a16:creationId xmlns:a16="http://schemas.microsoft.com/office/drawing/2014/main" id="{8ABC8845-28E0-45E2-B9F6-E82F25F5BB05}"/>
              </a:ext>
            </a:extLst>
          </p:cNvPr>
          <p:cNvSpPr>
            <a:spLocks noGrp="1"/>
          </p:cNvSpPr>
          <p:nvPr>
            <p:ph sz="quarter" idx="105" hasCustomPrompt="1"/>
          </p:nvPr>
        </p:nvSpPr>
        <p:spPr>
          <a:xfrm>
            <a:off x="8682970" y="5234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8" name="Textplatzhalter 34">
            <a:extLst>
              <a:ext uri="{FF2B5EF4-FFF2-40B4-BE49-F238E27FC236}">
                <a16:creationId xmlns:a16="http://schemas.microsoft.com/office/drawing/2014/main" id="{36D3DD99-9940-4DA7-8508-CC6E8C32F262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8904508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119" name="Textplatzhalter 34">
            <a:extLst>
              <a:ext uri="{FF2B5EF4-FFF2-40B4-BE49-F238E27FC236}">
                <a16:creationId xmlns:a16="http://schemas.microsoft.com/office/drawing/2014/main" id="{D076B3B1-5EF5-4271-B17F-9E7D52AE5E5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1725785" y="5864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120" name="Textplatzhalter 51">
            <a:extLst>
              <a:ext uri="{FF2B5EF4-FFF2-40B4-BE49-F238E27FC236}">
                <a16:creationId xmlns:a16="http://schemas.microsoft.com/office/drawing/2014/main" id="{7ECB719E-0B86-4AA6-9EDF-C60419182D9E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627801" y="5844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21" name="Inhaltsplatzhalter 9">
            <a:extLst>
              <a:ext uri="{FF2B5EF4-FFF2-40B4-BE49-F238E27FC236}">
                <a16:creationId xmlns:a16="http://schemas.microsoft.com/office/drawing/2014/main" id="{0F005E89-9A6D-4F29-97C0-099D1D18D41D}"/>
              </a:ext>
            </a:extLst>
          </p:cNvPr>
          <p:cNvSpPr>
            <a:spLocks noGrp="1"/>
          </p:cNvSpPr>
          <p:nvPr>
            <p:ph sz="quarter" idx="109" hasCustomPrompt="1"/>
          </p:nvPr>
        </p:nvSpPr>
        <p:spPr>
          <a:xfrm>
            <a:off x="1550993" y="5850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2" name="Inhaltsplatzhalter 9">
            <a:extLst>
              <a:ext uri="{FF2B5EF4-FFF2-40B4-BE49-F238E27FC236}">
                <a16:creationId xmlns:a16="http://schemas.microsoft.com/office/drawing/2014/main" id="{D18C5A24-39D4-4223-826E-1449C874926A}"/>
              </a:ext>
            </a:extLst>
          </p:cNvPr>
          <p:cNvSpPr>
            <a:spLocks noGrp="1"/>
          </p:cNvSpPr>
          <p:nvPr>
            <p:ph sz="quarter" idx="110" hasCustomPrompt="1"/>
          </p:nvPr>
        </p:nvSpPr>
        <p:spPr>
          <a:xfrm>
            <a:off x="5758662" y="5850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3" name="Textplatzhalter 34">
            <a:extLst>
              <a:ext uri="{FF2B5EF4-FFF2-40B4-BE49-F238E27FC236}">
                <a16:creationId xmlns:a16="http://schemas.microsoft.com/office/drawing/2014/main" id="{BCEE31BF-48D2-4214-9D85-9E0FAF14A558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5935893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24" name="Inhaltsplatzhalter 9">
            <a:extLst>
              <a:ext uri="{FF2B5EF4-FFF2-40B4-BE49-F238E27FC236}">
                <a16:creationId xmlns:a16="http://schemas.microsoft.com/office/drawing/2014/main" id="{0B52864E-1CC5-4D80-8FEE-A99ABD126139}"/>
              </a:ext>
            </a:extLst>
          </p:cNvPr>
          <p:cNvSpPr>
            <a:spLocks noGrp="1"/>
          </p:cNvSpPr>
          <p:nvPr>
            <p:ph sz="quarter" idx="112" hasCustomPrompt="1"/>
          </p:nvPr>
        </p:nvSpPr>
        <p:spPr>
          <a:xfrm>
            <a:off x="8682970" y="5850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5" name="Textplatzhalter 34">
            <a:extLst>
              <a:ext uri="{FF2B5EF4-FFF2-40B4-BE49-F238E27FC236}">
                <a16:creationId xmlns:a16="http://schemas.microsoft.com/office/drawing/2014/main" id="{0691A1D7-EF77-4AD3-93E0-E59A81BB4470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904508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32020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genda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FCEADE-0C88-4CDD-88DC-49AD90358BBC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88919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4.02.202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8919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647E8F-5052-4581-98D0-7C32D5A45346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8919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8919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4" name="Textplatzhalter 63">
            <a:extLst>
              <a:ext uri="{FF2B5EF4-FFF2-40B4-BE49-F238E27FC236}">
                <a16:creationId xmlns:a16="http://schemas.microsoft.com/office/drawing/2014/main" id="{C1BBFD50-AC67-42D2-B069-845E2B3749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00" y="1454622"/>
            <a:ext cx="5203943" cy="920067"/>
          </a:xfrm>
          <a:custGeom>
            <a:avLst/>
            <a:gdLst>
              <a:gd name="connsiteX0" fmla="*/ 805682 w 4228204"/>
              <a:gd name="connsiteY0" fmla="*/ 185520 h 920067"/>
              <a:gd name="connsiteX1" fmla="*/ 805682 w 4228204"/>
              <a:gd name="connsiteY1" fmla="*/ 730596 h 920067"/>
              <a:gd name="connsiteX2" fmla="*/ 827282 w 4228204"/>
              <a:gd name="connsiteY2" fmla="*/ 730596 h 920067"/>
              <a:gd name="connsiteX3" fmla="*/ 827282 w 4228204"/>
              <a:gd name="connsiteY3" fmla="*/ 185520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85520"/>
                </a:moveTo>
                <a:lnTo>
                  <a:pt x="805682" y="730596"/>
                </a:lnTo>
                <a:lnTo>
                  <a:pt x="827282" y="730596"/>
                </a:lnTo>
                <a:lnTo>
                  <a:pt x="827282" y="185520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5" name="Textplatzhalter 64">
            <a:extLst>
              <a:ext uri="{FF2B5EF4-FFF2-40B4-BE49-F238E27FC236}">
                <a16:creationId xmlns:a16="http://schemas.microsoft.com/office/drawing/2014/main" id="{4FF4D1CD-7310-4F47-A531-B081E4A294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00" y="2729988"/>
            <a:ext cx="5203943" cy="920067"/>
          </a:xfrm>
          <a:custGeom>
            <a:avLst/>
            <a:gdLst>
              <a:gd name="connsiteX0" fmla="*/ 805682 w 4228204"/>
              <a:gd name="connsiteY0" fmla="*/ 175252 h 920067"/>
              <a:gd name="connsiteX1" fmla="*/ 805682 w 4228204"/>
              <a:gd name="connsiteY1" fmla="*/ 720328 h 920067"/>
              <a:gd name="connsiteX2" fmla="*/ 827282 w 4228204"/>
              <a:gd name="connsiteY2" fmla="*/ 720328 h 920067"/>
              <a:gd name="connsiteX3" fmla="*/ 827282 w 4228204"/>
              <a:gd name="connsiteY3" fmla="*/ 17525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75252"/>
                </a:moveTo>
                <a:lnTo>
                  <a:pt x="805682" y="720328"/>
                </a:lnTo>
                <a:lnTo>
                  <a:pt x="827282" y="720328"/>
                </a:lnTo>
                <a:lnTo>
                  <a:pt x="827282" y="17525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6" name="Textplatzhalter 65">
            <a:extLst>
              <a:ext uri="{FF2B5EF4-FFF2-40B4-BE49-F238E27FC236}">
                <a16:creationId xmlns:a16="http://schemas.microsoft.com/office/drawing/2014/main" id="{B7ED82DA-2F7E-4A19-AC70-B35827D3F5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00" y="4005350"/>
            <a:ext cx="5203943" cy="920067"/>
          </a:xfrm>
          <a:custGeom>
            <a:avLst/>
            <a:gdLst>
              <a:gd name="connsiteX0" fmla="*/ 805682 w 4228204"/>
              <a:gd name="connsiteY0" fmla="*/ 189912 h 920067"/>
              <a:gd name="connsiteX1" fmla="*/ 805682 w 4228204"/>
              <a:gd name="connsiteY1" fmla="*/ 734988 h 920067"/>
              <a:gd name="connsiteX2" fmla="*/ 827282 w 4228204"/>
              <a:gd name="connsiteY2" fmla="*/ 734988 h 920067"/>
              <a:gd name="connsiteX3" fmla="*/ 827282 w 4228204"/>
              <a:gd name="connsiteY3" fmla="*/ 18991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89912"/>
                </a:moveTo>
                <a:lnTo>
                  <a:pt x="805682" y="734988"/>
                </a:lnTo>
                <a:lnTo>
                  <a:pt x="827282" y="734988"/>
                </a:lnTo>
                <a:lnTo>
                  <a:pt x="827282" y="18991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7" name="Textplatzhalter 66">
            <a:extLst>
              <a:ext uri="{FF2B5EF4-FFF2-40B4-BE49-F238E27FC236}">
                <a16:creationId xmlns:a16="http://schemas.microsoft.com/office/drawing/2014/main" id="{44A13067-6028-4186-8764-01D222AAD4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00" y="5280713"/>
            <a:ext cx="5203943" cy="920067"/>
          </a:xfrm>
          <a:custGeom>
            <a:avLst/>
            <a:gdLst>
              <a:gd name="connsiteX0" fmla="*/ 805682 w 4228204"/>
              <a:gd name="connsiteY0" fmla="*/ 191873 h 920067"/>
              <a:gd name="connsiteX1" fmla="*/ 805682 w 4228204"/>
              <a:gd name="connsiteY1" fmla="*/ 736949 h 920067"/>
              <a:gd name="connsiteX2" fmla="*/ 827282 w 4228204"/>
              <a:gd name="connsiteY2" fmla="*/ 736949 h 920067"/>
              <a:gd name="connsiteX3" fmla="*/ 827282 w 4228204"/>
              <a:gd name="connsiteY3" fmla="*/ 191873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91873"/>
                </a:moveTo>
                <a:lnTo>
                  <a:pt x="805682" y="736949"/>
                </a:lnTo>
                <a:lnTo>
                  <a:pt x="827282" y="736949"/>
                </a:lnTo>
                <a:lnTo>
                  <a:pt x="827282" y="191873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1" name="Textplatzhalter 70">
            <a:extLst>
              <a:ext uri="{FF2B5EF4-FFF2-40B4-BE49-F238E27FC236}">
                <a16:creationId xmlns:a16="http://schemas.microsoft.com/office/drawing/2014/main" id="{B4CF5608-10FA-4712-9790-79EFC49699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37259" y="1454622"/>
            <a:ext cx="5203943" cy="920067"/>
          </a:xfrm>
          <a:custGeom>
            <a:avLst/>
            <a:gdLst>
              <a:gd name="connsiteX0" fmla="*/ 822545 w 4228204"/>
              <a:gd name="connsiteY0" fmla="*/ 185520 h 920067"/>
              <a:gd name="connsiteX1" fmla="*/ 822545 w 4228204"/>
              <a:gd name="connsiteY1" fmla="*/ 730596 h 920067"/>
              <a:gd name="connsiteX2" fmla="*/ 844145 w 4228204"/>
              <a:gd name="connsiteY2" fmla="*/ 730596 h 920067"/>
              <a:gd name="connsiteX3" fmla="*/ 844145 w 4228204"/>
              <a:gd name="connsiteY3" fmla="*/ 185520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85520"/>
                </a:moveTo>
                <a:lnTo>
                  <a:pt x="822545" y="730596"/>
                </a:lnTo>
                <a:lnTo>
                  <a:pt x="844145" y="730596"/>
                </a:lnTo>
                <a:lnTo>
                  <a:pt x="844145" y="185520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0" name="Textplatzhalter 69">
            <a:extLst>
              <a:ext uri="{FF2B5EF4-FFF2-40B4-BE49-F238E27FC236}">
                <a16:creationId xmlns:a16="http://schemas.microsoft.com/office/drawing/2014/main" id="{4E4A1239-75DF-42F8-8141-FF2897042EC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37259" y="2729988"/>
            <a:ext cx="5203943" cy="920067"/>
          </a:xfrm>
          <a:custGeom>
            <a:avLst/>
            <a:gdLst>
              <a:gd name="connsiteX0" fmla="*/ 822545 w 4228204"/>
              <a:gd name="connsiteY0" fmla="*/ 175252 h 920067"/>
              <a:gd name="connsiteX1" fmla="*/ 822545 w 4228204"/>
              <a:gd name="connsiteY1" fmla="*/ 720328 h 920067"/>
              <a:gd name="connsiteX2" fmla="*/ 844145 w 4228204"/>
              <a:gd name="connsiteY2" fmla="*/ 720328 h 920067"/>
              <a:gd name="connsiteX3" fmla="*/ 844145 w 4228204"/>
              <a:gd name="connsiteY3" fmla="*/ 17525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75252"/>
                </a:moveTo>
                <a:lnTo>
                  <a:pt x="822545" y="720328"/>
                </a:lnTo>
                <a:lnTo>
                  <a:pt x="844145" y="720328"/>
                </a:lnTo>
                <a:lnTo>
                  <a:pt x="844145" y="17525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9" name="Textplatzhalter 68">
            <a:extLst>
              <a:ext uri="{FF2B5EF4-FFF2-40B4-BE49-F238E27FC236}">
                <a16:creationId xmlns:a16="http://schemas.microsoft.com/office/drawing/2014/main" id="{D01902BB-CAAC-4D67-9821-70B9CFAE85A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7259" y="4005350"/>
            <a:ext cx="5203943" cy="920067"/>
          </a:xfrm>
          <a:custGeom>
            <a:avLst/>
            <a:gdLst>
              <a:gd name="connsiteX0" fmla="*/ 822545 w 4228204"/>
              <a:gd name="connsiteY0" fmla="*/ 189912 h 920067"/>
              <a:gd name="connsiteX1" fmla="*/ 822545 w 4228204"/>
              <a:gd name="connsiteY1" fmla="*/ 734988 h 920067"/>
              <a:gd name="connsiteX2" fmla="*/ 844145 w 4228204"/>
              <a:gd name="connsiteY2" fmla="*/ 734988 h 920067"/>
              <a:gd name="connsiteX3" fmla="*/ 844145 w 4228204"/>
              <a:gd name="connsiteY3" fmla="*/ 18991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89912"/>
                </a:moveTo>
                <a:lnTo>
                  <a:pt x="822545" y="734988"/>
                </a:lnTo>
                <a:lnTo>
                  <a:pt x="844145" y="734988"/>
                </a:lnTo>
                <a:lnTo>
                  <a:pt x="844145" y="18991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8" name="Textplatzhalter 67">
            <a:extLst>
              <a:ext uri="{FF2B5EF4-FFF2-40B4-BE49-F238E27FC236}">
                <a16:creationId xmlns:a16="http://schemas.microsoft.com/office/drawing/2014/main" id="{85BBCCD5-2975-4487-8168-030C907357C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37259" y="5280713"/>
            <a:ext cx="5203943" cy="920067"/>
          </a:xfrm>
          <a:custGeom>
            <a:avLst/>
            <a:gdLst>
              <a:gd name="connsiteX0" fmla="*/ 822545 w 4228204"/>
              <a:gd name="connsiteY0" fmla="*/ 191873 h 920067"/>
              <a:gd name="connsiteX1" fmla="*/ 822545 w 4228204"/>
              <a:gd name="connsiteY1" fmla="*/ 736949 h 920067"/>
              <a:gd name="connsiteX2" fmla="*/ 844145 w 4228204"/>
              <a:gd name="connsiteY2" fmla="*/ 736949 h 920067"/>
              <a:gd name="connsiteX3" fmla="*/ 844145 w 4228204"/>
              <a:gd name="connsiteY3" fmla="*/ 191873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91873"/>
                </a:moveTo>
                <a:lnTo>
                  <a:pt x="822545" y="736949"/>
                </a:lnTo>
                <a:lnTo>
                  <a:pt x="844145" y="736949"/>
                </a:lnTo>
                <a:lnTo>
                  <a:pt x="844145" y="191873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1076" y="1662862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6" name="Textplatzhalter 34">
            <a:extLst>
              <a:ext uri="{FF2B5EF4-FFF2-40B4-BE49-F238E27FC236}">
                <a16:creationId xmlns:a16="http://schemas.microsoft.com/office/drawing/2014/main" id="{DF78CF7E-ECE5-4B2D-A483-3267534656C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57791" y="1662862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7" name="Textplatzhalter 34">
            <a:extLst>
              <a:ext uri="{FF2B5EF4-FFF2-40B4-BE49-F238E27FC236}">
                <a16:creationId xmlns:a16="http://schemas.microsoft.com/office/drawing/2014/main" id="{E3161E5D-F239-4697-B41B-8EA5EA589B4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21076" y="294018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8" name="Textplatzhalter 34">
            <a:extLst>
              <a:ext uri="{FF2B5EF4-FFF2-40B4-BE49-F238E27FC236}">
                <a16:creationId xmlns:a16="http://schemas.microsoft.com/office/drawing/2014/main" id="{92B7B467-A632-4523-BEC0-4C986340B0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57791" y="294018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39" name="Textplatzhalter 34">
            <a:extLst>
              <a:ext uri="{FF2B5EF4-FFF2-40B4-BE49-F238E27FC236}">
                <a16:creationId xmlns:a16="http://schemas.microsoft.com/office/drawing/2014/main" id="{D0B42C69-ACA8-4476-9DC5-005181EF4C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21076" y="421749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40" name="Textplatzhalter 34">
            <a:extLst>
              <a:ext uri="{FF2B5EF4-FFF2-40B4-BE49-F238E27FC236}">
                <a16:creationId xmlns:a16="http://schemas.microsoft.com/office/drawing/2014/main" id="{C04219E5-7AE1-4571-882B-172196EFDF9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57791" y="421749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41" name="Textplatzhalter 34">
            <a:extLst>
              <a:ext uri="{FF2B5EF4-FFF2-40B4-BE49-F238E27FC236}">
                <a16:creationId xmlns:a16="http://schemas.microsoft.com/office/drawing/2014/main" id="{E124A814-FF1D-44B1-9CCF-59D06311606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21076" y="549481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42" name="Textplatzhalter 34">
            <a:extLst>
              <a:ext uri="{FF2B5EF4-FFF2-40B4-BE49-F238E27FC236}">
                <a16:creationId xmlns:a16="http://schemas.microsoft.com/office/drawing/2014/main" id="{3B7C896C-7C0D-4D29-A70A-A8A93AB19C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57791" y="549481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3092" y="1618410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3" name="Textplatzhalter 51">
            <a:extLst>
              <a:ext uri="{FF2B5EF4-FFF2-40B4-BE49-F238E27FC236}">
                <a16:creationId xmlns:a16="http://schemas.microsoft.com/office/drawing/2014/main" id="{662C58B3-C6CB-40C4-9846-6885043CEAE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517664" y="1618410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4" name="Textplatzhalter 51">
            <a:extLst>
              <a:ext uri="{FF2B5EF4-FFF2-40B4-BE49-F238E27FC236}">
                <a16:creationId xmlns:a16="http://schemas.microsoft.com/office/drawing/2014/main" id="{BBC47D04-2291-4541-ABDF-3BDD7D89033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3092" y="2900116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5" name="Textplatzhalter 51">
            <a:extLst>
              <a:ext uri="{FF2B5EF4-FFF2-40B4-BE49-F238E27FC236}">
                <a16:creationId xmlns:a16="http://schemas.microsoft.com/office/drawing/2014/main" id="{9226F664-073C-478A-8241-1E5CABD99A8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17664" y="2900116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6" name="Textplatzhalter 51">
            <a:extLst>
              <a:ext uri="{FF2B5EF4-FFF2-40B4-BE49-F238E27FC236}">
                <a16:creationId xmlns:a16="http://schemas.microsoft.com/office/drawing/2014/main" id="{1A3A934F-49BD-4AD8-99B7-4931CC4FE56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23092" y="4181822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7" name="Textplatzhalter 51">
            <a:extLst>
              <a:ext uri="{FF2B5EF4-FFF2-40B4-BE49-F238E27FC236}">
                <a16:creationId xmlns:a16="http://schemas.microsoft.com/office/drawing/2014/main" id="{9EEA1254-1634-410B-B7D5-F19740479B1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17664" y="4181822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8" name="Textplatzhalter 51">
            <a:extLst>
              <a:ext uri="{FF2B5EF4-FFF2-40B4-BE49-F238E27FC236}">
                <a16:creationId xmlns:a16="http://schemas.microsoft.com/office/drawing/2014/main" id="{847DD741-14CE-4133-B69A-0617633EF17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3092" y="546352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9" name="Textplatzhalter 51">
            <a:extLst>
              <a:ext uri="{FF2B5EF4-FFF2-40B4-BE49-F238E27FC236}">
                <a16:creationId xmlns:a16="http://schemas.microsoft.com/office/drawing/2014/main" id="{F4FC7902-AE67-46D0-AF05-BAD44F5D755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517664" y="546352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31" name="Fußzeilenplatzhalter 3">
            <a:extLst>
              <a:ext uri="{FF2B5EF4-FFF2-40B4-BE49-F238E27FC236}">
                <a16:creationId xmlns:a16="http://schemas.microsoft.com/office/drawing/2014/main" id="{79050B90-98B6-4F1D-A364-D36A50F68D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66986" y="6584720"/>
            <a:ext cx="9058033" cy="13960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89194"/>
                </a:solidFill>
              </a:rPr>
              <a:t>ABBA | Vortragende*r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8919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73131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Alternative_Z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genda mit Zeitbezug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E5100F-DFB2-41BB-884B-63208953B0CF}" type="datetime1">
              <a:rPr lang="de-DE" smtClean="0"/>
              <a:t>14.02.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09A5E2-DD82-496C-9C5E-8489E116EE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889194"/>
                </a:solidFill>
              </a:rPr>
              <a:t>ABBA | Vortragende*r 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9967132-7FB3-44D9-B340-D5C95C1152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847" y="1449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7123" y="1553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9139" y="1533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77" name="Inhaltsplatzhalter 9">
            <a:extLst>
              <a:ext uri="{FF2B5EF4-FFF2-40B4-BE49-F238E27FC236}">
                <a16:creationId xmlns:a16="http://schemas.microsoft.com/office/drawing/2014/main" id="{229D505F-0EB3-46B1-BD92-CDF8A11C324E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1552331" y="1539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3" name="Inhaltsplatzhalter 9">
            <a:extLst>
              <a:ext uri="{FF2B5EF4-FFF2-40B4-BE49-F238E27FC236}">
                <a16:creationId xmlns:a16="http://schemas.microsoft.com/office/drawing/2014/main" id="{17AE42E5-158A-478C-9789-64472AF09C90}"/>
              </a:ext>
            </a:extLst>
          </p:cNvPr>
          <p:cNvSpPr>
            <a:spLocks noGrp="1"/>
          </p:cNvSpPr>
          <p:nvPr>
            <p:ph sz="quarter" idx="54" hasCustomPrompt="1"/>
          </p:nvPr>
        </p:nvSpPr>
        <p:spPr>
          <a:xfrm>
            <a:off x="5760000" y="1539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4" name="Textplatzhalter 34">
            <a:extLst>
              <a:ext uri="{FF2B5EF4-FFF2-40B4-BE49-F238E27FC236}">
                <a16:creationId xmlns:a16="http://schemas.microsoft.com/office/drawing/2014/main" id="{5890096B-CE06-4B93-A46A-51EBAB485CC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937231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46" name="Inhaltsplatzhalter 9">
            <a:extLst>
              <a:ext uri="{FF2B5EF4-FFF2-40B4-BE49-F238E27FC236}">
                <a16:creationId xmlns:a16="http://schemas.microsoft.com/office/drawing/2014/main" id="{36C4410E-166F-4B7F-9C6D-41BC42DC603D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8684308" y="1539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7" name="Textplatzhalter 34">
            <a:extLst>
              <a:ext uri="{FF2B5EF4-FFF2-40B4-BE49-F238E27FC236}">
                <a16:creationId xmlns:a16="http://schemas.microsoft.com/office/drawing/2014/main" id="{3521441E-F90E-4D97-A0BF-F6931EB7093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905846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48" name="Textplatzhalter 32">
            <a:extLst>
              <a:ext uri="{FF2B5EF4-FFF2-40B4-BE49-F238E27FC236}">
                <a16:creationId xmlns:a16="http://schemas.microsoft.com/office/drawing/2014/main" id="{710FD8FB-44A5-4E60-BFA5-CC6B0551A7F4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55509" y="2066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49" name="Textplatzhalter 34">
            <a:extLst>
              <a:ext uri="{FF2B5EF4-FFF2-40B4-BE49-F238E27FC236}">
                <a16:creationId xmlns:a16="http://schemas.microsoft.com/office/drawing/2014/main" id="{FACF348C-FB52-450C-96D5-D761EE93890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725785" y="2170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50" name="Textplatzhalter 51">
            <a:extLst>
              <a:ext uri="{FF2B5EF4-FFF2-40B4-BE49-F238E27FC236}">
                <a16:creationId xmlns:a16="http://schemas.microsoft.com/office/drawing/2014/main" id="{396278A5-AEC5-49D0-BAD3-07EA10DB104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7801" y="2151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51" name="Inhaltsplatzhalter 9">
            <a:extLst>
              <a:ext uri="{FF2B5EF4-FFF2-40B4-BE49-F238E27FC236}">
                <a16:creationId xmlns:a16="http://schemas.microsoft.com/office/drawing/2014/main" id="{84DD963F-1914-487D-AB8F-3D3384818A3F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1550993" y="2156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0" name="Inhaltsplatzhalter 9">
            <a:extLst>
              <a:ext uri="{FF2B5EF4-FFF2-40B4-BE49-F238E27FC236}">
                <a16:creationId xmlns:a16="http://schemas.microsoft.com/office/drawing/2014/main" id="{314DD3BE-369B-46E6-9686-0434D228AC0D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5758662" y="2156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4" name="Textplatzhalter 34">
            <a:extLst>
              <a:ext uri="{FF2B5EF4-FFF2-40B4-BE49-F238E27FC236}">
                <a16:creationId xmlns:a16="http://schemas.microsoft.com/office/drawing/2014/main" id="{825B2A1F-E37B-4E4E-9C9F-377CA4DFA99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935893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65" name="Inhaltsplatzhalter 9">
            <a:extLst>
              <a:ext uri="{FF2B5EF4-FFF2-40B4-BE49-F238E27FC236}">
                <a16:creationId xmlns:a16="http://schemas.microsoft.com/office/drawing/2014/main" id="{C084EE12-62C6-4961-AD51-F63CBE5A4CDA}"/>
              </a:ext>
            </a:extLst>
          </p:cNvPr>
          <p:cNvSpPr>
            <a:spLocks noGrp="1"/>
          </p:cNvSpPr>
          <p:nvPr>
            <p:ph sz="quarter" idx="64" hasCustomPrompt="1"/>
          </p:nvPr>
        </p:nvSpPr>
        <p:spPr>
          <a:xfrm>
            <a:off x="8682970" y="2156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6" name="Textplatzhalter 34">
            <a:extLst>
              <a:ext uri="{FF2B5EF4-FFF2-40B4-BE49-F238E27FC236}">
                <a16:creationId xmlns:a16="http://schemas.microsoft.com/office/drawing/2014/main" id="{DFC088F1-D484-4855-9CA4-24B851808FD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8904508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67" name="Textplatzhalter 32">
            <a:extLst>
              <a:ext uri="{FF2B5EF4-FFF2-40B4-BE49-F238E27FC236}">
                <a16:creationId xmlns:a16="http://schemas.microsoft.com/office/drawing/2014/main" id="{C4FD40E8-C6A7-4BDB-B195-68E0670DAC4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55509" y="2682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8" name="Textplatzhalter 32">
            <a:extLst>
              <a:ext uri="{FF2B5EF4-FFF2-40B4-BE49-F238E27FC236}">
                <a16:creationId xmlns:a16="http://schemas.microsoft.com/office/drawing/2014/main" id="{4D6DA363-BD58-4B50-9EFC-AFCC81C3CD4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55509" y="32976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69" name="Textplatzhalter 32">
            <a:extLst>
              <a:ext uri="{FF2B5EF4-FFF2-40B4-BE49-F238E27FC236}">
                <a16:creationId xmlns:a16="http://schemas.microsoft.com/office/drawing/2014/main" id="{735CA0CC-8781-4D64-9B38-164657802215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55509" y="39132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0" name="Textplatzhalter 32">
            <a:extLst>
              <a:ext uri="{FF2B5EF4-FFF2-40B4-BE49-F238E27FC236}">
                <a16:creationId xmlns:a16="http://schemas.microsoft.com/office/drawing/2014/main" id="{9E526531-BD00-4913-A003-1CFDDA2B9002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55509" y="45288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71" name="Textplatzhalter 32">
            <a:extLst>
              <a:ext uri="{FF2B5EF4-FFF2-40B4-BE49-F238E27FC236}">
                <a16:creationId xmlns:a16="http://schemas.microsoft.com/office/drawing/2014/main" id="{2A7538D1-CB34-4E76-ADC0-CBE0BF1D08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55509" y="5144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3" name="Textplatzhalter 32">
            <a:extLst>
              <a:ext uri="{FF2B5EF4-FFF2-40B4-BE49-F238E27FC236}">
                <a16:creationId xmlns:a16="http://schemas.microsoft.com/office/drawing/2014/main" id="{23EDE4BB-056F-48DA-9ED7-F4BB9881B577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55509" y="5760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4" name="Textplatzhalter 34">
            <a:extLst>
              <a:ext uri="{FF2B5EF4-FFF2-40B4-BE49-F238E27FC236}">
                <a16:creationId xmlns:a16="http://schemas.microsoft.com/office/drawing/2014/main" id="{218CFB87-C4D6-4412-9CC1-F0ACCCD4348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1725785" y="2786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85" name="Textplatzhalter 51">
            <a:extLst>
              <a:ext uri="{FF2B5EF4-FFF2-40B4-BE49-F238E27FC236}">
                <a16:creationId xmlns:a16="http://schemas.microsoft.com/office/drawing/2014/main" id="{11D606FC-E925-4633-9212-D580DA4DDA1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27801" y="2766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86" name="Inhaltsplatzhalter 9">
            <a:extLst>
              <a:ext uri="{FF2B5EF4-FFF2-40B4-BE49-F238E27FC236}">
                <a16:creationId xmlns:a16="http://schemas.microsoft.com/office/drawing/2014/main" id="{2F1BD2CF-2D37-4E1B-A917-7246A44EA679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1550993" y="2772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7" name="Inhaltsplatzhalter 9">
            <a:extLst>
              <a:ext uri="{FF2B5EF4-FFF2-40B4-BE49-F238E27FC236}">
                <a16:creationId xmlns:a16="http://schemas.microsoft.com/office/drawing/2014/main" id="{8A6B9C23-A1C5-4587-987B-28EF09DA7CE5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5758662" y="2772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88" name="Textplatzhalter 34">
            <a:extLst>
              <a:ext uri="{FF2B5EF4-FFF2-40B4-BE49-F238E27FC236}">
                <a16:creationId xmlns:a16="http://schemas.microsoft.com/office/drawing/2014/main" id="{2EA21878-2CEA-4860-8B09-6592A648268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935893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89" name="Inhaltsplatzhalter 9">
            <a:extLst>
              <a:ext uri="{FF2B5EF4-FFF2-40B4-BE49-F238E27FC236}">
                <a16:creationId xmlns:a16="http://schemas.microsoft.com/office/drawing/2014/main" id="{41B03C3C-26E5-4AC1-A453-A96C67324A98}"/>
              </a:ext>
            </a:extLst>
          </p:cNvPr>
          <p:cNvSpPr>
            <a:spLocks noGrp="1"/>
          </p:cNvSpPr>
          <p:nvPr>
            <p:ph sz="quarter" idx="77" hasCustomPrompt="1"/>
          </p:nvPr>
        </p:nvSpPr>
        <p:spPr>
          <a:xfrm>
            <a:off x="8682970" y="2772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0" name="Textplatzhalter 34">
            <a:extLst>
              <a:ext uri="{FF2B5EF4-FFF2-40B4-BE49-F238E27FC236}">
                <a16:creationId xmlns:a16="http://schemas.microsoft.com/office/drawing/2014/main" id="{A3F55094-C7B5-45EE-8CC6-BA8048DD50CC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904508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91" name="Textplatzhalter 34">
            <a:extLst>
              <a:ext uri="{FF2B5EF4-FFF2-40B4-BE49-F238E27FC236}">
                <a16:creationId xmlns:a16="http://schemas.microsoft.com/office/drawing/2014/main" id="{747D23DA-6B95-4FE5-97A9-0024CF41F142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725785" y="34020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92" name="Textplatzhalter 51">
            <a:extLst>
              <a:ext uri="{FF2B5EF4-FFF2-40B4-BE49-F238E27FC236}">
                <a16:creationId xmlns:a16="http://schemas.microsoft.com/office/drawing/2014/main" id="{26182251-C70E-487E-A3EE-7B77717696F6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627801" y="33822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93" name="Inhaltsplatzhalter 9">
            <a:extLst>
              <a:ext uri="{FF2B5EF4-FFF2-40B4-BE49-F238E27FC236}">
                <a16:creationId xmlns:a16="http://schemas.microsoft.com/office/drawing/2014/main" id="{A44EFC04-7E0B-4C61-AAD1-E6A8B0C02ED9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1550993" y="33876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4" name="Inhaltsplatzhalter 9">
            <a:extLst>
              <a:ext uri="{FF2B5EF4-FFF2-40B4-BE49-F238E27FC236}">
                <a16:creationId xmlns:a16="http://schemas.microsoft.com/office/drawing/2014/main" id="{6B2BC7F3-D9B0-4413-881B-297A030C2E37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5758662" y="33876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5" name="Textplatzhalter 34">
            <a:extLst>
              <a:ext uri="{FF2B5EF4-FFF2-40B4-BE49-F238E27FC236}">
                <a16:creationId xmlns:a16="http://schemas.microsoft.com/office/drawing/2014/main" id="{75C77310-22B1-4803-A446-877791B5F506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935893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96" name="Inhaltsplatzhalter 9">
            <a:extLst>
              <a:ext uri="{FF2B5EF4-FFF2-40B4-BE49-F238E27FC236}">
                <a16:creationId xmlns:a16="http://schemas.microsoft.com/office/drawing/2014/main" id="{0E76A311-CDB1-4A34-A184-52802DFEB4CF}"/>
              </a:ext>
            </a:extLst>
          </p:cNvPr>
          <p:cNvSpPr>
            <a:spLocks noGrp="1"/>
          </p:cNvSpPr>
          <p:nvPr>
            <p:ph sz="quarter" idx="84" hasCustomPrompt="1"/>
          </p:nvPr>
        </p:nvSpPr>
        <p:spPr>
          <a:xfrm>
            <a:off x="8682970" y="33876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97" name="Textplatzhalter 34">
            <a:extLst>
              <a:ext uri="{FF2B5EF4-FFF2-40B4-BE49-F238E27FC236}">
                <a16:creationId xmlns:a16="http://schemas.microsoft.com/office/drawing/2014/main" id="{AA4ADE18-E6AE-40A5-9A46-7C9AE604936B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8904508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98" name="Textplatzhalter 34">
            <a:extLst>
              <a:ext uri="{FF2B5EF4-FFF2-40B4-BE49-F238E27FC236}">
                <a16:creationId xmlns:a16="http://schemas.microsoft.com/office/drawing/2014/main" id="{393B03C4-338A-4DAD-912F-3DEBEA3C9B62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1725785" y="40176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99" name="Textplatzhalter 51">
            <a:extLst>
              <a:ext uri="{FF2B5EF4-FFF2-40B4-BE49-F238E27FC236}">
                <a16:creationId xmlns:a16="http://schemas.microsoft.com/office/drawing/2014/main" id="{EB0B5C89-328D-4B85-82AB-9BF7A0D14BD8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627801" y="39978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00" name="Inhaltsplatzhalter 9">
            <a:extLst>
              <a:ext uri="{FF2B5EF4-FFF2-40B4-BE49-F238E27FC236}">
                <a16:creationId xmlns:a16="http://schemas.microsoft.com/office/drawing/2014/main" id="{B5B36F74-E228-4115-814F-E92B66DDDB59}"/>
              </a:ext>
            </a:extLst>
          </p:cNvPr>
          <p:cNvSpPr>
            <a:spLocks noGrp="1"/>
          </p:cNvSpPr>
          <p:nvPr>
            <p:ph sz="quarter" idx="88" hasCustomPrompt="1"/>
          </p:nvPr>
        </p:nvSpPr>
        <p:spPr>
          <a:xfrm>
            <a:off x="1550993" y="40032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1" name="Inhaltsplatzhalter 9">
            <a:extLst>
              <a:ext uri="{FF2B5EF4-FFF2-40B4-BE49-F238E27FC236}">
                <a16:creationId xmlns:a16="http://schemas.microsoft.com/office/drawing/2014/main" id="{5F8885E2-87F6-4A52-A89C-7806DA8B5400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5758662" y="40032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2" name="Textplatzhalter 34">
            <a:extLst>
              <a:ext uri="{FF2B5EF4-FFF2-40B4-BE49-F238E27FC236}">
                <a16:creationId xmlns:a16="http://schemas.microsoft.com/office/drawing/2014/main" id="{20937498-592B-4E68-9E53-88D9C1B5AF9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5935893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03" name="Inhaltsplatzhalter 9">
            <a:extLst>
              <a:ext uri="{FF2B5EF4-FFF2-40B4-BE49-F238E27FC236}">
                <a16:creationId xmlns:a16="http://schemas.microsoft.com/office/drawing/2014/main" id="{4DFD59D8-DC66-4BF5-A3F3-23BB2055E9D2}"/>
              </a:ext>
            </a:extLst>
          </p:cNvPr>
          <p:cNvSpPr>
            <a:spLocks noGrp="1"/>
          </p:cNvSpPr>
          <p:nvPr>
            <p:ph sz="quarter" idx="91" hasCustomPrompt="1"/>
          </p:nvPr>
        </p:nvSpPr>
        <p:spPr>
          <a:xfrm>
            <a:off x="8682970" y="40032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4" name="Textplatzhalter 34">
            <a:extLst>
              <a:ext uri="{FF2B5EF4-FFF2-40B4-BE49-F238E27FC236}">
                <a16:creationId xmlns:a16="http://schemas.microsoft.com/office/drawing/2014/main" id="{8473ADE6-F742-471C-B4DD-635C060B55C7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8904508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105" name="Textplatzhalter 34">
            <a:extLst>
              <a:ext uri="{FF2B5EF4-FFF2-40B4-BE49-F238E27FC236}">
                <a16:creationId xmlns:a16="http://schemas.microsoft.com/office/drawing/2014/main" id="{0A3DD65E-FCB5-4E1B-BCD8-219419551805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725785" y="46332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106" name="Textplatzhalter 51">
            <a:extLst>
              <a:ext uri="{FF2B5EF4-FFF2-40B4-BE49-F238E27FC236}">
                <a16:creationId xmlns:a16="http://schemas.microsoft.com/office/drawing/2014/main" id="{96CFB615-1E30-4863-91D4-96A1402468AB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627801" y="46134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07" name="Inhaltsplatzhalter 9">
            <a:extLst>
              <a:ext uri="{FF2B5EF4-FFF2-40B4-BE49-F238E27FC236}">
                <a16:creationId xmlns:a16="http://schemas.microsoft.com/office/drawing/2014/main" id="{578020C3-2AAD-432D-89F3-11B3A7902B8F}"/>
              </a:ext>
            </a:extLst>
          </p:cNvPr>
          <p:cNvSpPr>
            <a:spLocks noGrp="1"/>
          </p:cNvSpPr>
          <p:nvPr>
            <p:ph sz="quarter" idx="95" hasCustomPrompt="1"/>
          </p:nvPr>
        </p:nvSpPr>
        <p:spPr>
          <a:xfrm>
            <a:off x="1550993" y="46188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8" name="Inhaltsplatzhalter 9">
            <a:extLst>
              <a:ext uri="{FF2B5EF4-FFF2-40B4-BE49-F238E27FC236}">
                <a16:creationId xmlns:a16="http://schemas.microsoft.com/office/drawing/2014/main" id="{707AABF3-9623-4ABC-B87D-9FACC1E091E2}"/>
              </a:ext>
            </a:extLst>
          </p:cNvPr>
          <p:cNvSpPr>
            <a:spLocks noGrp="1"/>
          </p:cNvSpPr>
          <p:nvPr>
            <p:ph sz="quarter" idx="96" hasCustomPrompt="1"/>
          </p:nvPr>
        </p:nvSpPr>
        <p:spPr>
          <a:xfrm>
            <a:off x="5758662" y="46188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09" name="Textplatzhalter 34">
            <a:extLst>
              <a:ext uri="{FF2B5EF4-FFF2-40B4-BE49-F238E27FC236}">
                <a16:creationId xmlns:a16="http://schemas.microsoft.com/office/drawing/2014/main" id="{14F30F9F-3754-4AF7-95BF-2FAE7A9923C2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5935893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10" name="Inhaltsplatzhalter 9">
            <a:extLst>
              <a:ext uri="{FF2B5EF4-FFF2-40B4-BE49-F238E27FC236}">
                <a16:creationId xmlns:a16="http://schemas.microsoft.com/office/drawing/2014/main" id="{8B341007-1860-4BA9-BF84-4AD2512EBEFA}"/>
              </a:ext>
            </a:extLst>
          </p:cNvPr>
          <p:cNvSpPr>
            <a:spLocks noGrp="1"/>
          </p:cNvSpPr>
          <p:nvPr>
            <p:ph sz="quarter" idx="98" hasCustomPrompt="1"/>
          </p:nvPr>
        </p:nvSpPr>
        <p:spPr>
          <a:xfrm>
            <a:off x="8682970" y="46188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1" name="Textplatzhalter 34">
            <a:extLst>
              <a:ext uri="{FF2B5EF4-FFF2-40B4-BE49-F238E27FC236}">
                <a16:creationId xmlns:a16="http://schemas.microsoft.com/office/drawing/2014/main" id="{D447C4A6-7D26-4540-9E9D-6700F36BC66C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8904508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112" name="Textplatzhalter 34">
            <a:extLst>
              <a:ext uri="{FF2B5EF4-FFF2-40B4-BE49-F238E27FC236}">
                <a16:creationId xmlns:a16="http://schemas.microsoft.com/office/drawing/2014/main" id="{510DDB89-F752-4905-867B-3364FEF79C9C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1725785" y="5248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113" name="Textplatzhalter 51">
            <a:extLst>
              <a:ext uri="{FF2B5EF4-FFF2-40B4-BE49-F238E27FC236}">
                <a16:creationId xmlns:a16="http://schemas.microsoft.com/office/drawing/2014/main" id="{33D7A0AE-7003-46BF-8DA2-649AEE49F655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27801" y="5229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14" name="Inhaltsplatzhalter 9">
            <a:extLst>
              <a:ext uri="{FF2B5EF4-FFF2-40B4-BE49-F238E27FC236}">
                <a16:creationId xmlns:a16="http://schemas.microsoft.com/office/drawing/2014/main" id="{D97AC346-D6D8-4AFB-900F-36C382D9DF9A}"/>
              </a:ext>
            </a:extLst>
          </p:cNvPr>
          <p:cNvSpPr>
            <a:spLocks noGrp="1"/>
          </p:cNvSpPr>
          <p:nvPr>
            <p:ph sz="quarter" idx="102" hasCustomPrompt="1"/>
          </p:nvPr>
        </p:nvSpPr>
        <p:spPr>
          <a:xfrm>
            <a:off x="1550993" y="5234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5" name="Inhaltsplatzhalter 9">
            <a:extLst>
              <a:ext uri="{FF2B5EF4-FFF2-40B4-BE49-F238E27FC236}">
                <a16:creationId xmlns:a16="http://schemas.microsoft.com/office/drawing/2014/main" id="{30C4EEDE-0D9A-4C9D-84C7-EA59D72259AC}"/>
              </a:ext>
            </a:extLst>
          </p:cNvPr>
          <p:cNvSpPr>
            <a:spLocks noGrp="1"/>
          </p:cNvSpPr>
          <p:nvPr>
            <p:ph sz="quarter" idx="103" hasCustomPrompt="1"/>
          </p:nvPr>
        </p:nvSpPr>
        <p:spPr>
          <a:xfrm>
            <a:off x="5758662" y="5234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6" name="Textplatzhalter 34">
            <a:extLst>
              <a:ext uri="{FF2B5EF4-FFF2-40B4-BE49-F238E27FC236}">
                <a16:creationId xmlns:a16="http://schemas.microsoft.com/office/drawing/2014/main" id="{655423AB-6705-45AD-9BB3-0A2641B1B000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5935893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17" name="Inhaltsplatzhalter 9">
            <a:extLst>
              <a:ext uri="{FF2B5EF4-FFF2-40B4-BE49-F238E27FC236}">
                <a16:creationId xmlns:a16="http://schemas.microsoft.com/office/drawing/2014/main" id="{8ABC8845-28E0-45E2-B9F6-E82F25F5BB05}"/>
              </a:ext>
            </a:extLst>
          </p:cNvPr>
          <p:cNvSpPr>
            <a:spLocks noGrp="1"/>
          </p:cNvSpPr>
          <p:nvPr>
            <p:ph sz="quarter" idx="105" hasCustomPrompt="1"/>
          </p:nvPr>
        </p:nvSpPr>
        <p:spPr>
          <a:xfrm>
            <a:off x="8682970" y="5234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18" name="Textplatzhalter 34">
            <a:extLst>
              <a:ext uri="{FF2B5EF4-FFF2-40B4-BE49-F238E27FC236}">
                <a16:creationId xmlns:a16="http://schemas.microsoft.com/office/drawing/2014/main" id="{36D3DD99-9940-4DA7-8508-CC6E8C32F262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8904508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  <p:sp>
        <p:nvSpPr>
          <p:cNvPr id="119" name="Textplatzhalter 34">
            <a:extLst>
              <a:ext uri="{FF2B5EF4-FFF2-40B4-BE49-F238E27FC236}">
                <a16:creationId xmlns:a16="http://schemas.microsoft.com/office/drawing/2014/main" id="{D076B3B1-5EF5-4271-B17F-9E7D52AE5E5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1725785" y="5864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apitel</a:t>
            </a:r>
            <a:endParaRPr lang="en-US"/>
          </a:p>
        </p:txBody>
      </p:sp>
      <p:sp>
        <p:nvSpPr>
          <p:cNvPr id="120" name="Textplatzhalter 51">
            <a:extLst>
              <a:ext uri="{FF2B5EF4-FFF2-40B4-BE49-F238E27FC236}">
                <a16:creationId xmlns:a16="http://schemas.microsoft.com/office/drawing/2014/main" id="{7ECB719E-0B86-4AA6-9EDF-C60419182D9E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627801" y="5844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de-DE"/>
              <a:t>00</a:t>
            </a:r>
            <a:endParaRPr lang="en-US"/>
          </a:p>
        </p:txBody>
      </p:sp>
      <p:sp>
        <p:nvSpPr>
          <p:cNvPr id="121" name="Inhaltsplatzhalter 9">
            <a:extLst>
              <a:ext uri="{FF2B5EF4-FFF2-40B4-BE49-F238E27FC236}">
                <a16:creationId xmlns:a16="http://schemas.microsoft.com/office/drawing/2014/main" id="{0F005E89-9A6D-4F29-97C0-099D1D18D41D}"/>
              </a:ext>
            </a:extLst>
          </p:cNvPr>
          <p:cNvSpPr>
            <a:spLocks noGrp="1"/>
          </p:cNvSpPr>
          <p:nvPr>
            <p:ph sz="quarter" idx="109" hasCustomPrompt="1"/>
          </p:nvPr>
        </p:nvSpPr>
        <p:spPr>
          <a:xfrm>
            <a:off x="1550993" y="5850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2" name="Inhaltsplatzhalter 9">
            <a:extLst>
              <a:ext uri="{FF2B5EF4-FFF2-40B4-BE49-F238E27FC236}">
                <a16:creationId xmlns:a16="http://schemas.microsoft.com/office/drawing/2014/main" id="{D18C5A24-39D4-4223-826E-1449C874926A}"/>
              </a:ext>
            </a:extLst>
          </p:cNvPr>
          <p:cNvSpPr>
            <a:spLocks noGrp="1"/>
          </p:cNvSpPr>
          <p:nvPr>
            <p:ph sz="quarter" idx="110" hasCustomPrompt="1"/>
          </p:nvPr>
        </p:nvSpPr>
        <p:spPr>
          <a:xfrm>
            <a:off x="5758662" y="5850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3" name="Textplatzhalter 34">
            <a:extLst>
              <a:ext uri="{FF2B5EF4-FFF2-40B4-BE49-F238E27FC236}">
                <a16:creationId xmlns:a16="http://schemas.microsoft.com/office/drawing/2014/main" id="{BCEE31BF-48D2-4214-9D85-9E0FAF14A558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5935893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:00 Uhr – 00:00 Uhr</a:t>
            </a:r>
            <a:endParaRPr lang="en-US"/>
          </a:p>
        </p:txBody>
      </p:sp>
      <p:sp>
        <p:nvSpPr>
          <p:cNvPr id="124" name="Inhaltsplatzhalter 9">
            <a:extLst>
              <a:ext uri="{FF2B5EF4-FFF2-40B4-BE49-F238E27FC236}">
                <a16:creationId xmlns:a16="http://schemas.microsoft.com/office/drawing/2014/main" id="{0B52864E-1CC5-4D80-8FEE-A99ABD126139}"/>
              </a:ext>
            </a:extLst>
          </p:cNvPr>
          <p:cNvSpPr>
            <a:spLocks noGrp="1"/>
          </p:cNvSpPr>
          <p:nvPr>
            <p:ph sz="quarter" idx="112" hasCustomPrompt="1"/>
          </p:nvPr>
        </p:nvSpPr>
        <p:spPr>
          <a:xfrm>
            <a:off x="8682970" y="5850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  <a:endParaRPr lang="en-US"/>
          </a:p>
        </p:txBody>
      </p:sp>
      <p:sp>
        <p:nvSpPr>
          <p:cNvPr id="125" name="Textplatzhalter 34">
            <a:extLst>
              <a:ext uri="{FF2B5EF4-FFF2-40B4-BE49-F238E27FC236}">
                <a16:creationId xmlns:a16="http://schemas.microsoft.com/office/drawing/2014/main" id="{0691A1D7-EF77-4AD3-93E0-E59A81BB4470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904508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tragende*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2847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Rechteck 141">
            <a:extLst>
              <a:ext uri="{FF2B5EF4-FFF2-40B4-BE49-F238E27FC236}">
                <a16:creationId xmlns:a16="http://schemas.microsoft.com/office/drawing/2014/main" id="{7EDD7C82-C014-479F-9CDC-0ED1064608F9}"/>
              </a:ext>
            </a:extLst>
          </p:cNvPr>
          <p:cNvSpPr/>
          <p:nvPr userDrawn="1"/>
        </p:nvSpPr>
        <p:spPr>
          <a:xfrm>
            <a:off x="0" y="6129338"/>
            <a:ext cx="12192000" cy="7286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D3C83F6-AD8B-4C81-880A-7C6FF8D63F47}"/>
              </a:ext>
            </a:extLst>
          </p:cNvPr>
          <p:cNvSpPr/>
          <p:nvPr userDrawn="1"/>
        </p:nvSpPr>
        <p:spPr>
          <a:xfrm>
            <a:off x="0" y="0"/>
            <a:ext cx="12192000" cy="6129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0F8827-7DAE-427E-829A-1C7812127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0030" y="3498044"/>
            <a:ext cx="8171107" cy="789560"/>
          </a:xfrm>
        </p:spPr>
        <p:txBody>
          <a:bodyPr/>
          <a:lstStyle>
            <a:lvl1pPr>
              <a:defRPr sz="2800">
                <a:solidFill>
                  <a:srgbClr val="4B4B4B"/>
                </a:solidFill>
              </a:defRPr>
            </a:lvl1pPr>
          </a:lstStyle>
          <a:p>
            <a:r>
              <a:rPr lang="de-DE" err="1"/>
              <a:t>Kapiteltrenner</a:t>
            </a:r>
            <a:r>
              <a:rPr lang="de-DE"/>
              <a:t> </a:t>
            </a:r>
            <a:r>
              <a:rPr lang="de-DE" err="1"/>
              <a:t>Lorem</a:t>
            </a:r>
            <a:br>
              <a:rPr lang="de-DE"/>
            </a:br>
            <a:r>
              <a:rPr lang="de-DE"/>
              <a:t>Zweite Zeile Ipsum</a:t>
            </a:r>
            <a:endParaRPr lang="en-US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CA1F0A7-CC4C-48B8-BA2B-81A4E8632408}"/>
              </a:ext>
            </a:extLst>
          </p:cNvPr>
          <p:cNvCxnSpPr>
            <a:cxnSpLocks/>
          </p:cNvCxnSpPr>
          <p:nvPr userDrawn="1"/>
        </p:nvCxnSpPr>
        <p:spPr>
          <a:xfrm>
            <a:off x="556847" y="4454307"/>
            <a:ext cx="11084291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63C56A2-0AC3-476F-BFEE-274669F5B0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69208" y="4617223"/>
            <a:ext cx="8171934" cy="760412"/>
          </a:xfrm>
        </p:spPr>
        <p:txBody>
          <a:bodyPr/>
          <a:lstStyle>
            <a:lvl1pPr marL="0" indent="0">
              <a:buNone/>
              <a:defRPr>
                <a:solidFill>
                  <a:srgbClr val="4B4B4B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Untertitel</a:t>
            </a:r>
            <a:br>
              <a:rPr lang="de-DE"/>
            </a:br>
            <a:r>
              <a:rPr lang="de-DE"/>
              <a:t>Zweite Zeile</a:t>
            </a:r>
          </a:p>
        </p:txBody>
      </p:sp>
      <p:sp>
        <p:nvSpPr>
          <p:cNvPr id="144" name="Textplatzhalter 143">
            <a:extLst>
              <a:ext uri="{FF2B5EF4-FFF2-40B4-BE49-F238E27FC236}">
                <a16:creationId xmlns:a16="http://schemas.microsoft.com/office/drawing/2014/main" id="{B4B87E25-1972-4BA3-9017-8F622393453C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-1465385" y="1240611"/>
            <a:ext cx="4759569" cy="3213100"/>
          </a:xfrm>
        </p:spPr>
        <p:txBody>
          <a:bodyPr anchor="ctr"/>
          <a:lstStyle>
            <a:lvl1pPr marL="0" indent="0" algn="r">
              <a:buNone/>
              <a:defRPr sz="287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</a:t>
            </a:r>
            <a:endParaRPr lang="en-US"/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A7AFDF6E-5108-4973-9D2D-67ADFDD4A12D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17" name="Grafik 16" descr="Ein Bild, das Text enthält.&#10;&#10;Automatisch generierte Beschreibung">
            <a:extLst>
              <a:ext uri="{FF2B5EF4-FFF2-40B4-BE49-F238E27FC236}">
                <a16:creationId xmlns:a16="http://schemas.microsoft.com/office/drawing/2014/main" id="{E6779296-889C-43A8-B867-107FEBD681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847" y="6295445"/>
            <a:ext cx="2318327" cy="463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863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Rechteck 141">
            <a:extLst>
              <a:ext uri="{FF2B5EF4-FFF2-40B4-BE49-F238E27FC236}">
                <a16:creationId xmlns:a16="http://schemas.microsoft.com/office/drawing/2014/main" id="{7EDD7C82-C014-479F-9CDC-0ED1064608F9}"/>
              </a:ext>
            </a:extLst>
          </p:cNvPr>
          <p:cNvSpPr/>
          <p:nvPr userDrawn="1"/>
        </p:nvSpPr>
        <p:spPr>
          <a:xfrm>
            <a:off x="0" y="6129338"/>
            <a:ext cx="12192000" cy="7286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D3C83F6-AD8B-4C81-880A-7C6FF8D63F47}"/>
              </a:ext>
            </a:extLst>
          </p:cNvPr>
          <p:cNvSpPr/>
          <p:nvPr userDrawn="1"/>
        </p:nvSpPr>
        <p:spPr>
          <a:xfrm>
            <a:off x="0" y="-1"/>
            <a:ext cx="12192000" cy="62007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0F8827-7DAE-427E-829A-1C7812127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0031" y="3498044"/>
            <a:ext cx="8172000" cy="78956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Kapiteltrenner</a:t>
            </a:r>
            <a:r>
              <a:rPr lang="de-DE"/>
              <a:t> </a:t>
            </a:r>
            <a:r>
              <a:rPr lang="de-DE" err="1"/>
              <a:t>Lorem</a:t>
            </a:r>
            <a:br>
              <a:rPr lang="de-DE"/>
            </a:br>
            <a:r>
              <a:rPr lang="de-DE"/>
              <a:t>Zweite Zeile Ipsum</a:t>
            </a:r>
            <a:endParaRPr lang="en-US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CA1F0A7-CC4C-48B8-BA2B-81A4E8632408}"/>
              </a:ext>
            </a:extLst>
          </p:cNvPr>
          <p:cNvCxnSpPr>
            <a:cxnSpLocks/>
          </p:cNvCxnSpPr>
          <p:nvPr userDrawn="1"/>
        </p:nvCxnSpPr>
        <p:spPr>
          <a:xfrm>
            <a:off x="556847" y="4454307"/>
            <a:ext cx="1108436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63C56A2-0AC3-476F-BFEE-274669F5B0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69208" y="4617223"/>
            <a:ext cx="8172000" cy="76041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Untertitel</a:t>
            </a:r>
            <a:br>
              <a:rPr lang="de-DE"/>
            </a:br>
            <a:r>
              <a:rPr lang="de-DE"/>
              <a:t>Zweite Zeile</a:t>
            </a:r>
          </a:p>
        </p:txBody>
      </p:sp>
      <p:sp>
        <p:nvSpPr>
          <p:cNvPr id="144" name="Textplatzhalter 143">
            <a:extLst>
              <a:ext uri="{FF2B5EF4-FFF2-40B4-BE49-F238E27FC236}">
                <a16:creationId xmlns:a16="http://schemas.microsoft.com/office/drawing/2014/main" id="{B4B87E25-1972-4BA3-9017-8F62239345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465385" y="1240611"/>
            <a:ext cx="4759569" cy="3213100"/>
          </a:xfrm>
        </p:spPr>
        <p:txBody>
          <a:bodyPr anchor="ctr"/>
          <a:lstStyle>
            <a:lvl1pPr marL="0" indent="0" algn="r">
              <a:buNone/>
              <a:defRPr sz="287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</a:t>
            </a:r>
            <a:endParaRPr lang="en-US"/>
          </a:p>
        </p:txBody>
      </p:sp>
      <p:pic>
        <p:nvPicPr>
          <p:cNvPr id="4" name="Grafik 3" descr="Ein Bild, das Text enthält.&#10;&#10;Automatisch generierte Beschreibung">
            <a:extLst>
              <a:ext uri="{FF2B5EF4-FFF2-40B4-BE49-F238E27FC236}">
                <a16:creationId xmlns:a16="http://schemas.microsoft.com/office/drawing/2014/main" id="{60BEB5C5-7930-4FD9-802B-CFC2339A45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847" y="6295445"/>
            <a:ext cx="2318327" cy="463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84754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9AA4FD1-AF41-4DD5-937F-459FA9235E3B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1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0ECDDA2D-E87F-4A69-897E-2930B4B658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262800"/>
            <a:ext cx="12192000" cy="332399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4909607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A9AA4FD1-AF41-4DD5-937F-459FA9235E3B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4400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1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0ECDDA2D-E87F-4A69-897E-2930B4B658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2984500"/>
            <a:ext cx="6111628" cy="1689100"/>
          </a:xfrm>
          <a:prstGeom prst="rect">
            <a:avLst/>
          </a:prstGeom>
          <a:solidFill>
            <a:schemeClr val="tx2"/>
          </a:solidFill>
        </p:spPr>
        <p:txBody>
          <a:bodyPr wrap="square" lIns="144000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760427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gi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eck 29">
            <a:extLst>
              <a:ext uri="{FF2B5EF4-FFF2-40B4-BE49-F238E27FC236}">
                <a16:creationId xmlns:a16="http://schemas.microsoft.com/office/drawing/2014/main" id="{75D50384-E3FC-40F9-9015-B304134A640A}"/>
              </a:ext>
            </a:extLst>
          </p:cNvPr>
          <p:cNvSpPr/>
          <p:nvPr userDrawn="1"/>
        </p:nvSpPr>
        <p:spPr>
          <a:xfrm>
            <a:off x="0" y="1236250"/>
            <a:ext cx="12192000" cy="56217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12700" dir="16200000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0" name="Titelplatzhalter 9">
            <a:extLst>
              <a:ext uri="{FF2B5EF4-FFF2-40B4-BE49-F238E27FC236}">
                <a16:creationId xmlns:a16="http://schemas.microsoft.com/office/drawing/2014/main" id="{EBF5AABB-91AB-42A6-ACAF-01AFA8D23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407199"/>
            <a:ext cx="8052580" cy="6381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Mastertitelformat bearbeiten</a:t>
            </a:r>
            <a:br>
              <a:rPr lang="de-DE"/>
            </a:br>
            <a:r>
              <a:rPr lang="de-DE"/>
              <a:t>Zweite Zeile</a:t>
            </a:r>
            <a:endParaRPr lang="en-US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B00A917-7FEE-4539-BEB6-A05D3A39DA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00" y="1449393"/>
            <a:ext cx="11088000" cy="47513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en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F744D047-DBE7-4837-9765-21AD21D3E1A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50800" y="6584720"/>
            <a:ext cx="777407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A9C45D68-AA89-436D-A8BC-30FB63CE55A7}" type="datetime1">
              <a:rPr lang="de-DE" smtClean="0"/>
              <a:t>14.02.2024</a:t>
            </a:fld>
            <a:endParaRPr lang="en-US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64AAEA56-5A85-4B03-A52E-6C67C5CF4A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de-DE"/>
              <a:t>ABBA | Vortragende*r </a:t>
            </a:r>
            <a:endParaRPr lang="en-US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435A9C5-FF72-442B-99AC-40BB799414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34000" y="6584720"/>
            <a:ext cx="304800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64647E8F-5052-4581-98D0-7C32D5A45346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863709E5-1A75-444F-B4BE-2340C4E06744}"/>
              </a:ext>
            </a:extLst>
          </p:cNvPr>
          <p:cNvCxnSpPr/>
          <p:nvPr userDrawn="1"/>
        </p:nvCxnSpPr>
        <p:spPr>
          <a:xfrm flipH="1">
            <a:off x="-467201" y="409181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2C03EDCA-8C9C-4EF3-A61D-BA419E16438B}"/>
              </a:ext>
            </a:extLst>
          </p:cNvPr>
          <p:cNvSpPr txBox="1"/>
          <p:nvPr userDrawn="1"/>
        </p:nvSpPr>
        <p:spPr>
          <a:xfrm>
            <a:off x="-472831" y="445694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8,40</a:t>
            </a: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FB547E8B-D79C-422A-81DC-5E5DF91B7B52}"/>
              </a:ext>
            </a:extLst>
          </p:cNvPr>
          <p:cNvCxnSpPr/>
          <p:nvPr userDrawn="1"/>
        </p:nvCxnSpPr>
        <p:spPr>
          <a:xfrm flipH="1">
            <a:off x="-467201" y="983775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5F825E4A-066A-42F8-887C-683D950C5AF1}"/>
              </a:ext>
            </a:extLst>
          </p:cNvPr>
          <p:cNvSpPr txBox="1"/>
          <p:nvPr userDrawn="1"/>
        </p:nvSpPr>
        <p:spPr>
          <a:xfrm>
            <a:off x="-472831" y="1020288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6,80</a:t>
            </a: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10AD2466-4DA2-4326-AE10-6602EA720ED2}"/>
              </a:ext>
            </a:extLst>
          </p:cNvPr>
          <p:cNvCxnSpPr/>
          <p:nvPr userDrawn="1"/>
        </p:nvCxnSpPr>
        <p:spPr>
          <a:xfrm flipH="1">
            <a:off x="-467201" y="1236162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C8AE78C6-42DF-4818-AF8A-7528F1898AC3}"/>
              </a:ext>
            </a:extLst>
          </p:cNvPr>
          <p:cNvSpPr txBox="1"/>
          <p:nvPr userDrawn="1"/>
        </p:nvSpPr>
        <p:spPr>
          <a:xfrm>
            <a:off x="-472831" y="1272675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6,10</a:t>
            </a: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81A28321-A51B-4143-A2E7-579B4C54E816}"/>
              </a:ext>
            </a:extLst>
          </p:cNvPr>
          <p:cNvCxnSpPr/>
          <p:nvPr userDrawn="1"/>
        </p:nvCxnSpPr>
        <p:spPr>
          <a:xfrm flipH="1">
            <a:off x="-467201" y="1451084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feld 37">
            <a:extLst>
              <a:ext uri="{FF2B5EF4-FFF2-40B4-BE49-F238E27FC236}">
                <a16:creationId xmlns:a16="http://schemas.microsoft.com/office/drawing/2014/main" id="{02EE2369-B400-4488-95B0-A229AF97E1D5}"/>
              </a:ext>
            </a:extLst>
          </p:cNvPr>
          <p:cNvSpPr txBox="1"/>
          <p:nvPr userDrawn="1"/>
        </p:nvSpPr>
        <p:spPr>
          <a:xfrm>
            <a:off x="-472831" y="1487597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5,50</a:t>
            </a: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223C8355-B0EC-44B3-9155-690CB075862B}"/>
              </a:ext>
            </a:extLst>
          </p:cNvPr>
          <p:cNvCxnSpPr/>
          <p:nvPr userDrawn="1"/>
        </p:nvCxnSpPr>
        <p:spPr>
          <a:xfrm flipH="1">
            <a:off x="-467201" y="6202508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feld 39">
            <a:extLst>
              <a:ext uri="{FF2B5EF4-FFF2-40B4-BE49-F238E27FC236}">
                <a16:creationId xmlns:a16="http://schemas.microsoft.com/office/drawing/2014/main" id="{468E3FFC-697F-4F9E-B707-E0EBB27D5EEB}"/>
              </a:ext>
            </a:extLst>
          </p:cNvPr>
          <p:cNvSpPr txBox="1"/>
          <p:nvPr userDrawn="1"/>
        </p:nvSpPr>
        <p:spPr>
          <a:xfrm>
            <a:off x="-472831" y="6239021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7,70</a:t>
            </a: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0A5EA9C0-7BE5-4536-A653-A86353CE4396}"/>
              </a:ext>
            </a:extLst>
          </p:cNvPr>
          <p:cNvCxnSpPr/>
          <p:nvPr userDrawn="1"/>
        </p:nvCxnSpPr>
        <p:spPr>
          <a:xfrm flipH="1">
            <a:off x="-467201" y="6454568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C584EB1C-8DF8-4788-AE49-C41F66462D0F}"/>
              </a:ext>
            </a:extLst>
          </p:cNvPr>
          <p:cNvSpPr txBox="1"/>
          <p:nvPr userDrawn="1"/>
        </p:nvSpPr>
        <p:spPr>
          <a:xfrm>
            <a:off x="-472831" y="6491081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8,40</a:t>
            </a:r>
            <a:endParaRPr kumimoji="0" lang="en-US" sz="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FFB193B5-8CCF-478B-AC02-3C59BA493369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549707" y="-322265"/>
            <a:ext cx="1" cy="309562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D57D7049-6EED-4A67-8684-DCF98D7C9662}"/>
              </a:ext>
            </a:extLst>
          </p:cNvPr>
          <p:cNvSpPr txBox="1"/>
          <p:nvPr userDrawn="1"/>
        </p:nvSpPr>
        <p:spPr>
          <a:xfrm rot="5400000">
            <a:off x="293079" y="-258275"/>
            <a:ext cx="290512" cy="1641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5,40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B7540CE6-88DA-4841-A94D-EA4FE05E6E9D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1640979" y="-322265"/>
            <a:ext cx="1" cy="309562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AFB58F39-8DEC-4D44-B86F-164ACF9E793F}"/>
              </a:ext>
            </a:extLst>
          </p:cNvPr>
          <p:cNvSpPr txBox="1"/>
          <p:nvPr userDrawn="1"/>
        </p:nvSpPr>
        <p:spPr>
          <a:xfrm rot="5400000">
            <a:off x="11384351" y="-258275"/>
            <a:ext cx="290512" cy="1641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5,40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5" name="Grafik 4" descr="Ein Bild, das Text enthält.&#10;&#10;Automatisch generierte Beschreibung">
            <a:extLst>
              <a:ext uri="{FF2B5EF4-FFF2-40B4-BE49-F238E27FC236}">
                <a16:creationId xmlns:a16="http://schemas.microsoft.com/office/drawing/2014/main" id="{A45D05D5-C785-4D1F-9705-D936D74257FD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9458" y="495728"/>
            <a:ext cx="2305574" cy="461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799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3897" r:id="rId2"/>
    <p:sldLayoutId id="2147484052" r:id="rId3"/>
    <p:sldLayoutId id="2147483898" r:id="rId4"/>
    <p:sldLayoutId id="2147484053" r:id="rId5"/>
    <p:sldLayoutId id="2147483899" r:id="rId6"/>
    <p:sldLayoutId id="2147483900" r:id="rId7"/>
    <p:sldLayoutId id="2147484059" r:id="rId8"/>
    <p:sldLayoutId id="2147484060" r:id="rId9"/>
    <p:sldLayoutId id="2147484011" r:id="rId10"/>
    <p:sldLayoutId id="2147484012" r:id="rId11"/>
    <p:sldLayoutId id="2147484013" r:id="rId12"/>
    <p:sldLayoutId id="2147484016" r:id="rId13"/>
    <p:sldLayoutId id="2147484017" r:id="rId14"/>
    <p:sldLayoutId id="2147484018" r:id="rId15"/>
    <p:sldLayoutId id="2147484019" r:id="rId16"/>
    <p:sldLayoutId id="2147483912" r:id="rId17"/>
    <p:sldLayoutId id="2147483915" r:id="rId18"/>
    <p:sldLayoutId id="2147484058" r:id="rId19"/>
    <p:sldLayoutId id="2147484064" r:id="rId20"/>
  </p:sldLayoutIdLst>
  <p:hf hdr="0" ftr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100000"/>
        </a:lnSpc>
        <a:spcBef>
          <a:spcPts val="600"/>
        </a:spcBef>
        <a:buFont typeface="Wingdings" panose="05000000000000000000" pitchFamily="2" charset="2"/>
        <a:buChar char="§"/>
        <a:defRPr sz="1400" kern="1200">
          <a:solidFill>
            <a:srgbClr val="4B4B4B"/>
          </a:solidFill>
          <a:latin typeface="+mn-lt"/>
          <a:ea typeface="+mn-ea"/>
          <a:cs typeface="+mn-cs"/>
        </a:defRPr>
      </a:lvl1pPr>
      <a:lvl2pPr marL="396000" indent="-185738" algn="l" defTabSz="742950" rtl="0" eaLnBrk="1" latinLnBrk="0" hangingPunct="1">
        <a:lnSpc>
          <a:spcPct val="100000"/>
        </a:lnSpc>
        <a:spcBef>
          <a:spcPts val="600"/>
        </a:spcBef>
        <a:buFont typeface="Trebuchet MS" panose="020B0603020202020204" pitchFamily="34" charset="0"/>
        <a:buChar char="−"/>
        <a:defRPr sz="1400" kern="1200">
          <a:solidFill>
            <a:srgbClr val="4B4B4B"/>
          </a:solidFill>
          <a:latin typeface="+mn-lt"/>
          <a:ea typeface="+mn-ea"/>
          <a:cs typeface="+mn-cs"/>
        </a:defRPr>
      </a:lvl2pPr>
      <a:lvl3pPr marL="612000" indent="-185738" algn="l" defTabSz="74295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rgbClr val="4B4B4B"/>
          </a:solidFill>
          <a:latin typeface="+mn-lt"/>
          <a:ea typeface="+mn-ea"/>
          <a:cs typeface="+mn-cs"/>
        </a:defRPr>
      </a:lvl3pPr>
      <a:lvl4pPr marL="82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Trebuchet MS" panose="020B0603020202020204" pitchFamily="34" charset="0"/>
        <a:buChar char="»"/>
        <a:defRPr sz="1100" kern="1200">
          <a:solidFill>
            <a:srgbClr val="4B4B4B"/>
          </a:solidFill>
          <a:latin typeface="+mn-lt"/>
          <a:ea typeface="+mn-ea"/>
          <a:cs typeface="+mn-cs"/>
        </a:defRPr>
      </a:lvl4pPr>
      <a:lvl5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50000"/>
        <a:buFont typeface="Trebuchet MS" panose="020B0603020202020204" pitchFamily="34" charset="0"/>
        <a:buChar char="›"/>
        <a:defRPr sz="1100" kern="1200">
          <a:solidFill>
            <a:srgbClr val="4B4B4B"/>
          </a:solidFill>
          <a:latin typeface="+mn-lt"/>
          <a:ea typeface="+mn-ea"/>
          <a:cs typeface="+mn-cs"/>
        </a:defRPr>
      </a:lvl5pPr>
      <a:lvl6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Trebuchet MS" panose="020B0603020202020204" pitchFamily="34" charset="0"/>
        <a:buChar char="&gt;"/>
        <a:defRPr sz="1100" kern="1200">
          <a:solidFill>
            <a:srgbClr val="4B4B4B"/>
          </a:solidFill>
          <a:latin typeface="+mn-lt"/>
          <a:ea typeface="+mn-ea"/>
          <a:cs typeface="+mn-cs"/>
        </a:defRPr>
      </a:lvl6pPr>
      <a:lvl7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Trebuchet MS" panose="020B0603020202020204" pitchFamily="34" charset="0"/>
        <a:buChar char="¬"/>
        <a:defRPr sz="1100" kern="1200">
          <a:solidFill>
            <a:srgbClr val="4B4B4B"/>
          </a:solidFill>
          <a:latin typeface="+mn-lt"/>
          <a:ea typeface="+mn-ea"/>
          <a:cs typeface="+mn-cs"/>
        </a:defRPr>
      </a:lvl7pPr>
      <a:lvl8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Courier New" panose="02070309020205020404" pitchFamily="49" charset="0"/>
        <a:buChar char="o"/>
        <a:defRPr sz="1100" kern="1200">
          <a:solidFill>
            <a:srgbClr val="4B4B4B"/>
          </a:solidFill>
          <a:latin typeface="+mn-lt"/>
          <a:ea typeface="+mn-ea"/>
          <a:cs typeface="+mn-cs"/>
        </a:defRPr>
      </a:lvl8pPr>
      <a:lvl9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50000"/>
        <a:buFont typeface="Trebuchet MS" panose="020B0603020202020204" pitchFamily="34" charset="0"/>
        <a:buChar char="▫"/>
        <a:defRPr sz="1100" kern="1200">
          <a:solidFill>
            <a:srgbClr val="4B4B4B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47">
          <p15:clr>
            <a:srgbClr val="F26B43"/>
          </p15:clr>
        </p15:guide>
        <p15:guide id="3" pos="7333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3906">
          <p15:clr>
            <a:srgbClr val="F26B43"/>
          </p15:clr>
        </p15:guide>
        <p15:guide id="7" orient="horz" pos="618">
          <p15:clr>
            <a:srgbClr val="F26B43"/>
          </p15:clr>
        </p15:guide>
        <p15:guide id="8" orient="horz" pos="777">
          <p15:clr>
            <a:srgbClr val="F26B43"/>
          </p15:clr>
        </p15:guide>
        <p15:guide id="9" orient="horz" pos="91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openxmlformats.org/officeDocument/2006/relationships/image" Target="../media/image18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svg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21.svg"/><Relationship Id="rId1" Type="http://schemas.openxmlformats.org/officeDocument/2006/relationships/tags" Target="../tags/tag1.xml"/><Relationship Id="rId6" Type="http://schemas.openxmlformats.org/officeDocument/2006/relationships/image" Target="../media/image11.sv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10" Type="http://schemas.openxmlformats.org/officeDocument/2006/relationships/image" Target="../media/image15.sv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research.google.com/bigpicture/attacking-discrimination-in-ml/" TargetMode="External"/><Relationship Id="rId13" Type="http://schemas.openxmlformats.org/officeDocument/2006/relationships/chart" Target="../charts/chart2.xml"/><Relationship Id="rId18" Type="http://schemas.openxmlformats.org/officeDocument/2006/relationships/image" Target="../media/image34.png"/><Relationship Id="rId26" Type="http://schemas.openxmlformats.org/officeDocument/2006/relationships/image" Target="../media/image41.svg"/><Relationship Id="rId3" Type="http://schemas.openxmlformats.org/officeDocument/2006/relationships/chart" Target="../charts/chart1.xml"/><Relationship Id="rId21" Type="http://schemas.openxmlformats.org/officeDocument/2006/relationships/image" Target="../media/image37.svg"/><Relationship Id="rId7" Type="http://schemas.openxmlformats.org/officeDocument/2006/relationships/image" Target="../media/image25.svg"/><Relationship Id="rId12" Type="http://schemas.openxmlformats.org/officeDocument/2006/relationships/image" Target="../media/image29.svg"/><Relationship Id="rId17" Type="http://schemas.openxmlformats.org/officeDocument/2006/relationships/image" Target="../media/image33.png"/><Relationship Id="rId25" Type="http://schemas.openxmlformats.org/officeDocument/2006/relationships/image" Target="../media/image40.png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32.png"/><Relationship Id="rId20" Type="http://schemas.openxmlformats.org/officeDocument/2006/relationships/image" Target="../media/image36.png"/><Relationship Id="rId29" Type="http://schemas.openxmlformats.org/officeDocument/2006/relationships/image" Target="../media/image42.png"/><Relationship Id="rId1" Type="http://schemas.openxmlformats.org/officeDocument/2006/relationships/tags" Target="../tags/tag2.xml"/><Relationship Id="rId6" Type="http://schemas.openxmlformats.org/officeDocument/2006/relationships/image" Target="../media/image24.png"/><Relationship Id="rId11" Type="http://schemas.openxmlformats.org/officeDocument/2006/relationships/image" Target="../media/image28.png"/><Relationship Id="rId24" Type="http://schemas.openxmlformats.org/officeDocument/2006/relationships/image" Target="../media/image39.svg"/><Relationship Id="rId32" Type="http://schemas.openxmlformats.org/officeDocument/2006/relationships/image" Target="../media/image45.svg"/><Relationship Id="rId5" Type="http://schemas.openxmlformats.org/officeDocument/2006/relationships/image" Target="../media/image23.svg"/><Relationship Id="rId15" Type="http://schemas.openxmlformats.org/officeDocument/2006/relationships/image" Target="../media/image31.svg"/><Relationship Id="rId23" Type="http://schemas.openxmlformats.org/officeDocument/2006/relationships/image" Target="../media/image38.png"/><Relationship Id="rId28" Type="http://schemas.openxmlformats.org/officeDocument/2006/relationships/chart" Target="../charts/chart5.xml"/><Relationship Id="rId10" Type="http://schemas.openxmlformats.org/officeDocument/2006/relationships/image" Target="../media/image27.svg"/><Relationship Id="rId19" Type="http://schemas.openxmlformats.org/officeDocument/2006/relationships/image" Target="../media/image35.svg"/><Relationship Id="rId31" Type="http://schemas.openxmlformats.org/officeDocument/2006/relationships/image" Target="../media/image44.png"/><Relationship Id="rId4" Type="http://schemas.openxmlformats.org/officeDocument/2006/relationships/image" Target="../media/image22.png"/><Relationship Id="rId9" Type="http://schemas.openxmlformats.org/officeDocument/2006/relationships/image" Target="../media/image26.png"/><Relationship Id="rId14" Type="http://schemas.openxmlformats.org/officeDocument/2006/relationships/image" Target="../media/image30.png"/><Relationship Id="rId22" Type="http://schemas.openxmlformats.org/officeDocument/2006/relationships/chart" Target="../charts/chart3.xml"/><Relationship Id="rId27" Type="http://schemas.openxmlformats.org/officeDocument/2006/relationships/chart" Target="../charts/chart4.xml"/><Relationship Id="rId30" Type="http://schemas.openxmlformats.org/officeDocument/2006/relationships/image" Target="../media/image43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fairlearn.org/" TargetMode="External"/><Relationship Id="rId2" Type="http://schemas.openxmlformats.org/officeDocument/2006/relationships/hyperlink" Target="https://research.google.com/bigpicture/attacking-discrimination-in-ml/" TargetMode="External"/><Relationship Id="rId1" Type="http://schemas.openxmlformats.org/officeDocument/2006/relationships/slideLayout" Target="../slideLayouts/slideLayout10.xml"/><Relationship Id="rId4" Type="http://schemas.openxmlformats.org/officeDocument/2006/relationships/hyperlink" Target="http://www.fairmlbook.org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2B71109-26E8-4072-A917-56DD8F8A88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9034" y="1398227"/>
            <a:ext cx="7090394" cy="776288"/>
          </a:xfrm>
        </p:spPr>
        <p:txBody>
          <a:bodyPr/>
          <a:lstStyle/>
          <a:p>
            <a:r>
              <a:rPr lang="de-DE" sz="2399" dirty="0" err="1"/>
              <a:t>FairDice</a:t>
            </a:r>
            <a:r>
              <a:rPr lang="de-DE" sz="2399" dirty="0"/>
              <a:t>: </a:t>
            </a:r>
            <a:r>
              <a:rPr lang="en-US" sz="2399" dirty="0"/>
              <a:t>An interactive lecture hall experiment to showcase the nuances of fairness</a:t>
            </a:r>
            <a:endParaRPr lang="de-DE" sz="2399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80F378F-E7F2-4B4A-B776-E8B71F204E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Background </a:t>
            </a:r>
            <a:r>
              <a:rPr lang="de-DE" dirty="0" err="1"/>
              <a:t>information</a:t>
            </a:r>
            <a:r>
              <a:rPr lang="de-DE" dirty="0"/>
              <a:t> and real-</a:t>
            </a:r>
            <a:r>
              <a:rPr lang="de-DE" dirty="0" err="1"/>
              <a:t>world</a:t>
            </a:r>
            <a:r>
              <a:rPr lang="de-DE" dirty="0"/>
              <a:t> </a:t>
            </a:r>
            <a:r>
              <a:rPr lang="de-DE" dirty="0" err="1"/>
              <a:t>examp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41650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BA573E-C681-D7FE-BAB0-D5BCF365A9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l the discussed fairness notions can be found in real applications. And algorithms can implement them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729E4D-D3E3-4E88-76FF-15CC6B2FC6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34E102-0542-436C-A6B7-6FAAD0892AAD}" type="datetime1">
              <a:rPr lang="de-DE" smtClean="0"/>
              <a:t>14.02.2024</a:t>
            </a:fld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EF2828-0DA0-9FD8-33C0-851421791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2</a:t>
            </a:fld>
            <a:endParaRPr lang="en-US"/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166FDBB7-A547-C7D9-445B-CE2436BD81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2512" y="1449389"/>
            <a:ext cx="11084579" cy="4427537"/>
          </a:xfrm>
        </p:spPr>
        <p:txBody>
          <a:bodyPr>
            <a:normAutofit lnSpcReduction="10000"/>
          </a:bodyPr>
          <a:lstStyle/>
          <a:p>
            <a:pPr marL="0" indent="0" defTabSz="948514" fontAlgn="base">
              <a:spcBef>
                <a:spcPct val="20000"/>
              </a:spcBef>
              <a:spcAft>
                <a:spcPct val="0"/>
              </a:spcAft>
              <a:buNone/>
              <a:defRPr/>
            </a:pPr>
            <a:r>
              <a:rPr lang="de-DE" sz="1599" kern="0" dirty="0">
                <a:solidFill>
                  <a:srgbClr val="000000"/>
                </a:solidFill>
                <a:latin typeface="Trebuchet MS"/>
              </a:rPr>
              <a:t>Setting: Winners </a:t>
            </a:r>
            <a:r>
              <a:rPr lang="de-DE" sz="1599" kern="0" dirty="0" err="1">
                <a:solidFill>
                  <a:srgbClr val="000000"/>
                </a:solidFill>
                <a:latin typeface="Trebuchet MS"/>
              </a:rPr>
              <a:t>are</a:t>
            </a:r>
            <a:r>
              <a:rPr lang="de-DE" sz="1599" kern="0" dirty="0">
                <a:solidFill>
                  <a:srgbClr val="000000"/>
                </a:solidFill>
                <a:latin typeface="Trebuchet MS"/>
              </a:rPr>
              <a:t> </a:t>
            </a:r>
            <a:r>
              <a:rPr lang="de-DE" sz="1599" kern="0" dirty="0" err="1">
                <a:solidFill>
                  <a:srgbClr val="000000"/>
                </a:solidFill>
                <a:latin typeface="Trebuchet MS"/>
              </a:rPr>
              <a:t>accepted</a:t>
            </a:r>
            <a:r>
              <a:rPr lang="de-DE" sz="1599" kern="0" dirty="0">
                <a:solidFill>
                  <a:srgbClr val="000000"/>
                </a:solidFill>
                <a:latin typeface="Trebuchet MS"/>
              </a:rPr>
              <a:t> </a:t>
            </a:r>
            <a:r>
              <a:rPr lang="de-DE" sz="1599" kern="0" dirty="0" err="1">
                <a:solidFill>
                  <a:srgbClr val="000000"/>
                </a:solidFill>
                <a:latin typeface="Trebuchet MS"/>
              </a:rPr>
              <a:t>for</a:t>
            </a:r>
            <a:r>
              <a:rPr lang="de-DE" sz="1599" kern="0" dirty="0">
                <a:solidFill>
                  <a:srgbClr val="000000"/>
                </a:solidFill>
                <a:latin typeface="Trebuchet MS"/>
              </a:rPr>
              <a:t> </a:t>
            </a:r>
            <a:r>
              <a:rPr lang="de-DE" sz="1599" kern="0" dirty="0" err="1">
                <a:solidFill>
                  <a:srgbClr val="000000"/>
                </a:solidFill>
                <a:latin typeface="Trebuchet MS"/>
              </a:rPr>
              <a:t>university</a:t>
            </a:r>
            <a:r>
              <a:rPr lang="de-DE" sz="1599" kern="0" dirty="0">
                <a:solidFill>
                  <a:srgbClr val="000000"/>
                </a:solidFill>
                <a:latin typeface="Trebuchet MS"/>
              </a:rPr>
              <a:t>.</a:t>
            </a:r>
          </a:p>
          <a:p>
            <a:pPr marL="0" indent="0" defTabSz="948514" fontAlgn="base">
              <a:spcBef>
                <a:spcPct val="20000"/>
              </a:spcBef>
              <a:spcAft>
                <a:spcPct val="0"/>
              </a:spcAft>
              <a:buNone/>
              <a:defRPr/>
            </a:pPr>
            <a:endParaRPr lang="de-DE" sz="650" b="1" kern="0" dirty="0">
              <a:solidFill>
                <a:srgbClr val="000000"/>
              </a:solidFill>
              <a:latin typeface="Trebuchet MS"/>
            </a:endParaRPr>
          </a:p>
          <a:p>
            <a:pPr marL="0" indent="0" defTabSz="948514" fontAlgn="base">
              <a:spcBef>
                <a:spcPct val="20000"/>
              </a:spcBef>
              <a:spcAft>
                <a:spcPct val="0"/>
              </a:spcAft>
              <a:buNone/>
              <a:defRPr/>
            </a:pPr>
            <a:r>
              <a:rPr lang="en-US" sz="1599" b="1" kern="0" dirty="0">
                <a:solidFill>
                  <a:srgbClr val="000000"/>
                </a:solidFill>
                <a:latin typeface="Trebuchet MS"/>
              </a:rPr>
              <a:t>Rules 1 and 2: all people are equal</a:t>
            </a:r>
          </a:p>
          <a:p>
            <a:pPr marL="150606" indent="-150606" defTabSz="948514" fontAlgn="base"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599" kern="0" dirty="0">
                <a:solidFill>
                  <a:srgbClr val="000000"/>
                </a:solidFill>
                <a:latin typeface="Trebuchet MS"/>
              </a:rPr>
              <a:t>Rule 1: Trivial equal distribution, </a:t>
            </a:r>
            <a:r>
              <a:rPr lang="en-US" sz="1599" b="1" kern="0" dirty="0">
                <a:solidFill>
                  <a:srgbClr val="000000"/>
                </a:solidFill>
                <a:latin typeface="Trebuchet MS"/>
              </a:rPr>
              <a:t>no AI necessary </a:t>
            </a:r>
          </a:p>
          <a:p>
            <a:pPr marL="321325" lvl="1" indent="-150606" defTabSz="948514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1599" kern="0" dirty="0">
                <a:solidFill>
                  <a:srgbClr val="000000"/>
                </a:solidFill>
                <a:latin typeface="Trebuchet MS"/>
              </a:rPr>
              <a:t>Example: Everyone is accepted, e.g., online courses </a:t>
            </a:r>
          </a:p>
          <a:p>
            <a:pPr marL="321325" lvl="1" indent="-150606" defTabSz="948514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1599" kern="0" dirty="0">
                <a:solidFill>
                  <a:srgbClr val="B10034"/>
                </a:solidFill>
                <a:latin typeface="Trebuchet MS"/>
              </a:rPr>
              <a:t>Problem: limited resources, what about elite universities? </a:t>
            </a:r>
          </a:p>
          <a:p>
            <a:pPr marL="150606" indent="-150606" defTabSz="948514" fontAlgn="base"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599" kern="0" dirty="0">
                <a:solidFill>
                  <a:srgbClr val="000000"/>
                </a:solidFill>
                <a:latin typeface="Trebuchet MS"/>
              </a:rPr>
              <a:t>Rule 2: Brute luck, equal opportunities, </a:t>
            </a:r>
            <a:r>
              <a:rPr lang="en-US" sz="1599" b="1" kern="0" dirty="0">
                <a:solidFill>
                  <a:srgbClr val="000000"/>
                </a:solidFill>
                <a:latin typeface="Trebuchet MS"/>
              </a:rPr>
              <a:t>no AI necessary</a:t>
            </a:r>
            <a:r>
              <a:rPr lang="en-US" sz="1599" kern="0" dirty="0">
                <a:solidFill>
                  <a:srgbClr val="000000"/>
                </a:solidFill>
                <a:latin typeface="Trebuchet MS"/>
              </a:rPr>
              <a:t> </a:t>
            </a:r>
          </a:p>
          <a:p>
            <a:pPr marL="321325" lvl="1" indent="-150606" defTabSz="948514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1599" kern="0" dirty="0">
                <a:solidFill>
                  <a:srgbClr val="000000"/>
                </a:solidFill>
                <a:latin typeface="Trebuchet MS"/>
              </a:rPr>
              <a:t>Example: lottery procedure for limited courses </a:t>
            </a:r>
          </a:p>
          <a:p>
            <a:pPr marL="321325" lvl="1" indent="-150606" defTabSz="948514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1599" kern="0" dirty="0">
                <a:solidFill>
                  <a:srgbClr val="B10034"/>
                </a:solidFill>
                <a:latin typeface="Trebuchet MS"/>
              </a:rPr>
              <a:t>Problem: arbitrary, unpredictable, undeserved?</a:t>
            </a:r>
          </a:p>
          <a:p>
            <a:pPr marL="321325" lvl="1" indent="-150606" defTabSz="948514" fontAlgn="base">
              <a:spcBef>
                <a:spcPct val="20000"/>
              </a:spcBef>
              <a:spcAft>
                <a:spcPct val="0"/>
              </a:spcAft>
              <a:defRPr/>
            </a:pPr>
            <a:endParaRPr lang="de-DE" sz="650" kern="0" dirty="0">
              <a:solidFill>
                <a:srgbClr val="000000"/>
              </a:solidFill>
              <a:latin typeface="Trebuchet MS"/>
            </a:endParaRPr>
          </a:p>
          <a:p>
            <a:pPr marL="0" indent="0" defTabSz="948514" fontAlgn="base">
              <a:spcBef>
                <a:spcPct val="20000"/>
              </a:spcBef>
              <a:spcAft>
                <a:spcPct val="0"/>
              </a:spcAft>
              <a:buNone/>
              <a:defRPr/>
            </a:pPr>
            <a:r>
              <a:rPr lang="en-US" sz="1599" b="1" kern="0" dirty="0">
                <a:solidFill>
                  <a:srgbClr val="000000"/>
                </a:solidFill>
                <a:latin typeface="Trebuchet MS"/>
              </a:rPr>
              <a:t>Rules 3 and 4: some people are privileged (red = academic households)</a:t>
            </a:r>
          </a:p>
          <a:p>
            <a:pPr marL="150606" indent="-150606" defTabSz="948514" fontAlgn="base"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599" kern="0" dirty="0">
                <a:solidFill>
                  <a:srgbClr val="000000"/>
                </a:solidFill>
                <a:latin typeface="Trebuchet MS"/>
              </a:rPr>
              <a:t>Rule 3: Mitigating inequalities, </a:t>
            </a:r>
            <a:r>
              <a:rPr lang="en-US" sz="1599" b="1" kern="0" dirty="0">
                <a:solidFill>
                  <a:srgbClr val="000000"/>
                </a:solidFill>
                <a:latin typeface="Trebuchet MS"/>
              </a:rPr>
              <a:t>AI optimized for “fairness”</a:t>
            </a:r>
          </a:p>
          <a:p>
            <a:pPr marL="321325" lvl="1" indent="-150606" defTabSz="948514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1599" kern="0" dirty="0">
                <a:solidFill>
                  <a:srgbClr val="000000"/>
                </a:solidFill>
                <a:latin typeface="Trebuchet MS"/>
              </a:rPr>
              <a:t>Example: Quota regulations for (historically) marginalized groups</a:t>
            </a:r>
          </a:p>
          <a:p>
            <a:pPr marL="321325" lvl="1" indent="-150606" defTabSz="948514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1599" kern="0" dirty="0">
                <a:solidFill>
                  <a:srgbClr val="B10034"/>
                </a:solidFill>
                <a:latin typeface="Trebuchet MS"/>
              </a:rPr>
              <a:t>Problem: Which groups deserve preferential treatment? And why?</a:t>
            </a:r>
          </a:p>
          <a:p>
            <a:pPr marL="150606" indent="-150606" defTabSz="948514" fontAlgn="base"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1599" kern="0" dirty="0">
                <a:solidFill>
                  <a:srgbClr val="000000"/>
                </a:solidFill>
                <a:latin typeface="Trebuchet MS"/>
              </a:rPr>
              <a:t>Rule 4: Rewarding inequalities ("merit principle"), </a:t>
            </a:r>
            <a:r>
              <a:rPr lang="en-US" sz="1599" b="1" kern="0" dirty="0">
                <a:solidFill>
                  <a:srgbClr val="000000"/>
                </a:solidFill>
                <a:latin typeface="Trebuchet MS"/>
              </a:rPr>
              <a:t>AI optimized for accuracy</a:t>
            </a:r>
            <a:r>
              <a:rPr lang="en-US" sz="1599" kern="0" dirty="0">
                <a:solidFill>
                  <a:srgbClr val="000000"/>
                </a:solidFill>
                <a:latin typeface="Trebuchet MS"/>
              </a:rPr>
              <a:t> </a:t>
            </a:r>
          </a:p>
          <a:p>
            <a:pPr marL="321325" lvl="1" indent="-150606" defTabSz="948514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1599" kern="0" dirty="0">
                <a:solidFill>
                  <a:srgbClr val="000000"/>
                </a:solidFill>
                <a:latin typeface="Trebuchet MS"/>
              </a:rPr>
              <a:t>Example: Elite universities that only look at grades </a:t>
            </a:r>
          </a:p>
          <a:p>
            <a:pPr marL="321325" lvl="1" indent="-150606" defTabSz="948514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1599" kern="0" dirty="0">
                <a:solidFill>
                  <a:srgbClr val="B10034"/>
                </a:solidFill>
                <a:latin typeface="Trebuchet MS"/>
              </a:rPr>
              <a:t>Problem: Reinforcement of historical inequalities, lack of social mobility</a:t>
            </a:r>
            <a:endParaRPr lang="de-DE" sz="1599" kern="0" dirty="0">
              <a:solidFill>
                <a:srgbClr val="B10034"/>
              </a:solidFill>
              <a:latin typeface="Trebuchet MS"/>
            </a:endParaRPr>
          </a:p>
          <a:p>
            <a:pPr marL="258549" indent="-258549" defTabSz="948514" fontAlgn="base"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endParaRPr lang="en-US" sz="1599" kern="0" dirty="0">
              <a:solidFill>
                <a:srgbClr val="000000"/>
              </a:solidFill>
              <a:latin typeface="Trebuchet MS"/>
            </a:endParaRP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BC9AD85-AD88-4D36-F9A1-EF727FC9F2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680700" y="1858887"/>
            <a:ext cx="4115696" cy="3528483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0B8987-D0CB-DCF3-9D9C-FE6DFBCCA211}"/>
              </a:ext>
            </a:extLst>
          </p:cNvPr>
          <p:cNvCxnSpPr>
            <a:cxnSpLocks/>
          </p:cNvCxnSpPr>
          <p:nvPr/>
        </p:nvCxnSpPr>
        <p:spPr>
          <a:xfrm>
            <a:off x="10003185" y="1858886"/>
            <a:ext cx="0" cy="325376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8BDBB0BF-1226-E4E5-58F4-BD3A4ECB434A}"/>
              </a:ext>
            </a:extLst>
          </p:cNvPr>
          <p:cNvSpPr txBox="1"/>
          <p:nvPr/>
        </p:nvSpPr>
        <p:spPr>
          <a:xfrm>
            <a:off x="8386699" y="3246530"/>
            <a:ext cx="1444201" cy="18957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de-DE" sz="1200" b="1" dirty="0" err="1"/>
              <a:t>Equal</a:t>
            </a:r>
            <a:r>
              <a:rPr lang="de-DE" sz="1200" b="1" dirty="0"/>
              <a:t> </a:t>
            </a:r>
            <a:r>
              <a:rPr lang="de-DE" sz="1200" b="1" dirty="0" err="1"/>
              <a:t>opportunity</a:t>
            </a:r>
            <a:r>
              <a:rPr lang="de-DE" sz="1200" b="1" dirty="0"/>
              <a:t>?</a:t>
            </a:r>
            <a:endParaRPr lang="en-US" sz="1200" b="1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A37B5B4-27EE-7575-468C-A200819B14BA}"/>
              </a:ext>
            </a:extLst>
          </p:cNvPr>
          <p:cNvSpPr txBox="1"/>
          <p:nvPr/>
        </p:nvSpPr>
        <p:spPr>
          <a:xfrm>
            <a:off x="10008707" y="3237782"/>
            <a:ext cx="1677768" cy="21335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200" b="1" err="1"/>
              <a:t>Discrimination</a:t>
            </a:r>
            <a:r>
              <a:rPr lang="de-DE" sz="1200" b="1"/>
              <a:t>?</a:t>
            </a:r>
            <a:endParaRPr lang="de-DE" sz="2133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067699C-A904-7132-1231-EBFF5040A665}"/>
              </a:ext>
            </a:extLst>
          </p:cNvPr>
          <p:cNvSpPr txBox="1"/>
          <p:nvPr/>
        </p:nvSpPr>
        <p:spPr>
          <a:xfrm>
            <a:off x="8386699" y="4862693"/>
            <a:ext cx="1444201" cy="18957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algn="ctr"/>
            <a:r>
              <a:rPr lang="de-DE" sz="1200" b="1" err="1"/>
              <a:t>Equal</a:t>
            </a:r>
            <a:r>
              <a:rPr lang="de-DE" sz="1200" b="1"/>
              <a:t> </a:t>
            </a:r>
            <a:r>
              <a:rPr lang="de-DE" sz="1200" b="1" err="1"/>
              <a:t>outcome</a:t>
            </a:r>
            <a:r>
              <a:rPr lang="de-DE" sz="1200" b="1"/>
              <a:t>?</a:t>
            </a:r>
            <a:endParaRPr lang="en-US" sz="1200" b="1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B2A74AB-5C9B-69DE-AC69-847FE46E3A9A}"/>
              </a:ext>
            </a:extLst>
          </p:cNvPr>
          <p:cNvSpPr txBox="1"/>
          <p:nvPr/>
        </p:nvSpPr>
        <p:spPr>
          <a:xfrm>
            <a:off x="9523987" y="5116878"/>
            <a:ext cx="1001206" cy="189572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de-DE" sz="1200" b="1"/>
              <a:t>Disposition</a:t>
            </a:r>
            <a:endParaRPr lang="en-US" sz="1200" b="1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D6BA3B6-CB7E-3BB2-ABC8-F6FD5896D1BE}"/>
              </a:ext>
            </a:extLst>
          </p:cNvPr>
          <p:cNvSpPr txBox="1"/>
          <p:nvPr/>
        </p:nvSpPr>
        <p:spPr>
          <a:xfrm>
            <a:off x="10110348" y="4862693"/>
            <a:ext cx="1494412" cy="18957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de-DE" sz="1200" b="1"/>
              <a:t>Affirmative Action?</a:t>
            </a:r>
            <a:endParaRPr lang="en-US" sz="1200" b="1"/>
          </a:p>
        </p:txBody>
      </p:sp>
    </p:spTree>
    <p:extLst>
      <p:ext uri="{BB962C8B-B14F-4D97-AF65-F5344CB8AC3E}">
        <p14:creationId xmlns:p14="http://schemas.microsoft.com/office/powerpoint/2010/main" val="41731698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1" grpId="0"/>
      <p:bldP spid="22" grpId="0"/>
      <p:bldP spid="23" grpId="0" animBg="1"/>
      <p:bldP spid="2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75711AF-27F6-C692-4FCB-AAFF819011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0" dirty="0">
                <a:latin typeface="Trebuchet MS"/>
                <a:cs typeface="Arial"/>
              </a:rPr>
              <a:t>ML recognizes and reproduces learned patterns…</a:t>
            </a:r>
            <a:br>
              <a:rPr lang="en-US" b="0" dirty="0">
                <a:latin typeface="Trebuchet MS" panose="020B0603020202020204" pitchFamily="34" charset="0"/>
              </a:rPr>
            </a:br>
            <a:r>
              <a:rPr lang="en-US" b="0" dirty="0">
                <a:latin typeface="Trebuchet MS"/>
                <a:cs typeface="Arial"/>
              </a:rPr>
              <a:t>…but what if we do not approve of these patterns?</a:t>
            </a:r>
            <a:endParaRPr lang="en-US" b="0" dirty="0">
              <a:latin typeface="Trebuchet MS" panose="020B0603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027C3F8-9787-3AAC-63BE-BB85898E2A8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36139" y="8776917"/>
            <a:ext cx="1036223" cy="18608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1218804" rtl="0" eaLnBrk="1" latinLnBrk="0" hangingPunct="1"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609402" algn="l" defTabSz="1218804" rtl="0" eaLnBrk="1" latinLnBrk="0" hangingPunct="1"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804" algn="l" defTabSz="1218804" rtl="0" eaLnBrk="1" latinLnBrk="0" hangingPunct="1"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206" algn="l" defTabSz="1218804" rtl="0" eaLnBrk="1" latinLnBrk="0" hangingPunct="1"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608" algn="l" defTabSz="1218804" rtl="0" eaLnBrk="1" latinLnBrk="0" hangingPunct="1"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009" algn="l" defTabSz="1218804" rtl="0" eaLnBrk="1" latinLnBrk="0" hangingPunct="1"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411" algn="l" defTabSz="1218804" rtl="0" eaLnBrk="1" latinLnBrk="0" hangingPunct="1"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5813" algn="l" defTabSz="1218804" rtl="0" eaLnBrk="1" latinLnBrk="0" hangingPunct="1"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215" algn="l" defTabSz="1218804" rtl="0" eaLnBrk="1" latinLnBrk="0" hangingPunct="1"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03"/>
            <a:fld id="{99DF0BE4-C999-4208-A58B-E70FAA0E1019}" type="datetime1">
              <a:rPr lang="de-DE" smtClean="0"/>
              <a:t>14.02.2024</a:t>
            </a:fld>
            <a:endParaRPr lang="en-US" sz="900">
              <a:solidFill>
                <a:srgbClr val="8C8C8C"/>
              </a:solidFill>
              <a:latin typeface="Trebuchet M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1F7820-9634-B7B4-6D3D-9E23F406D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103"/>
            <a:fld id="{64647E8F-5052-4581-98D0-7C32D5A45346}" type="slidenum">
              <a:rPr lang="en-US">
                <a:solidFill>
                  <a:srgbClr val="8C8C8C"/>
                </a:solidFill>
                <a:latin typeface="Trebuchet MS"/>
              </a:rPr>
              <a:pPr defTabSz="914103"/>
              <a:t>3</a:t>
            </a:fld>
            <a:endParaRPr lang="en-US">
              <a:solidFill>
                <a:srgbClr val="8C8C8C"/>
              </a:solidFill>
              <a:latin typeface="Trebuchet MS"/>
            </a:endParaRPr>
          </a:p>
        </p:txBody>
      </p:sp>
      <p:pic>
        <p:nvPicPr>
          <p:cNvPr id="6" name="Picture 3">
            <a:extLst>
              <a:ext uri="{FF2B5EF4-FFF2-40B4-BE49-F238E27FC236}">
                <a16:creationId xmlns:a16="http://schemas.microsoft.com/office/drawing/2014/main" id="{E0B4A9AB-B6D9-FEE1-D83B-2A9E6881FC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204852" y="1466741"/>
            <a:ext cx="3573640" cy="249996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338FB18-F222-4BF0-99B2-647F82C63BA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7105"/>
          <a:stretch/>
        </p:blipFill>
        <p:spPr>
          <a:xfrm>
            <a:off x="1863507" y="1409477"/>
            <a:ext cx="2917122" cy="258402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FC15670-890B-7354-3C0C-18050A72E12B}"/>
              </a:ext>
            </a:extLst>
          </p:cNvPr>
          <p:cNvSpPr txBox="1"/>
          <p:nvPr/>
        </p:nvSpPr>
        <p:spPr>
          <a:xfrm>
            <a:off x="701496" y="3989140"/>
            <a:ext cx="4414637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914103"/>
            <a:r>
              <a:rPr lang="en-US" sz="800" i="1">
                <a:solidFill>
                  <a:srgbClr val="000000"/>
                </a:solidFill>
                <a:latin typeface="Trebuchet MS" panose="020B0603020202020204" pitchFamily="34" charset="0"/>
              </a:rPr>
              <a:t>https://www.theverge.com/2016/3/24/11297050/tay-microsoft-chatbot-racist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704D3C4-59CB-892B-2A6D-215609D80A1A}"/>
              </a:ext>
            </a:extLst>
          </p:cNvPr>
          <p:cNvSpPr txBox="1"/>
          <p:nvPr/>
        </p:nvSpPr>
        <p:spPr>
          <a:xfrm>
            <a:off x="5681771" y="3989140"/>
            <a:ext cx="546324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914103"/>
            <a:r>
              <a:rPr lang="en-US" sz="800" i="1">
                <a:solidFill>
                  <a:srgbClr val="000000"/>
                </a:solidFill>
                <a:latin typeface="Trebuchet MS" panose="020B0603020202020204" pitchFamily="34" charset="0"/>
              </a:rPr>
              <a:t>https://www.propublica.org/article/machine-bias-risk-assessments-in-criminal-sentencing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8B91F21-0EFE-A6D7-D095-736322BEF79F}"/>
              </a:ext>
            </a:extLst>
          </p:cNvPr>
          <p:cNvGrpSpPr/>
          <p:nvPr/>
        </p:nvGrpSpPr>
        <p:grpSpPr>
          <a:xfrm>
            <a:off x="552574" y="4303705"/>
            <a:ext cx="5463244" cy="1888355"/>
            <a:chOff x="550863" y="4216892"/>
            <a:chExt cx="5464931" cy="1888938"/>
          </a:xfrm>
        </p:grpSpPr>
        <p:pic>
          <p:nvPicPr>
            <p:cNvPr id="7" name="Inhaltsplatzhalter 8" descr="Datenbank mit einfarbiger Füllung">
              <a:extLst>
                <a:ext uri="{FF2B5EF4-FFF2-40B4-BE49-F238E27FC236}">
                  <a16:creationId xmlns:a16="http://schemas.microsoft.com/office/drawing/2014/main" id="{FA77BA97-8E9C-955F-CE31-9857CE52917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17450" y="4300499"/>
              <a:ext cx="938147" cy="938147"/>
            </a:xfrm>
            <a:prstGeom prst="rect">
              <a:avLst/>
            </a:prstGeom>
          </p:spPr>
        </p:pic>
        <p:sp>
          <p:nvSpPr>
            <p:cNvPr id="8" name="Würfel 10">
              <a:extLst>
                <a:ext uri="{FF2B5EF4-FFF2-40B4-BE49-F238E27FC236}">
                  <a16:creationId xmlns:a16="http://schemas.microsoft.com/office/drawing/2014/main" id="{089DC03A-6F24-D7EB-9EF3-A8D587104FA6}"/>
                </a:ext>
              </a:extLst>
            </p:cNvPr>
            <p:cNvSpPr/>
            <p:nvPr/>
          </p:nvSpPr>
          <p:spPr>
            <a:xfrm>
              <a:off x="2810522" y="4388690"/>
              <a:ext cx="1021377" cy="761765"/>
            </a:xfrm>
            <a:prstGeom prst="cube">
              <a:avLst/>
            </a:prstGeom>
            <a:solidFill>
              <a:schemeClr val="tx1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03"/>
              <a:endParaRPr lang="en-US" sz="1599" dirty="0">
                <a:solidFill>
                  <a:srgbClr val="FFFFFF"/>
                </a:solidFill>
                <a:latin typeface="Trebuchet MS" panose="020B0603020202020204" pitchFamily="34" charset="0"/>
              </a:endParaRPr>
            </a:p>
          </p:txBody>
        </p:sp>
        <p:cxnSp>
          <p:nvCxnSpPr>
            <p:cNvPr id="9" name="Gerade Verbindung mit Pfeil 22">
              <a:extLst>
                <a:ext uri="{FF2B5EF4-FFF2-40B4-BE49-F238E27FC236}">
                  <a16:creationId xmlns:a16="http://schemas.microsoft.com/office/drawing/2014/main" id="{96760D12-8ED0-EB1D-BD14-B5092B79F069}"/>
                </a:ext>
              </a:extLst>
            </p:cNvPr>
            <p:cNvCxnSpPr>
              <a:cxnSpLocks/>
            </p:cNvCxnSpPr>
            <p:nvPr/>
          </p:nvCxnSpPr>
          <p:spPr>
            <a:xfrm>
              <a:off x="2073248" y="4769572"/>
              <a:ext cx="467223" cy="1"/>
            </a:xfrm>
            <a:prstGeom prst="straightConnector1">
              <a:avLst/>
            </a:prstGeom>
            <a:ln>
              <a:solidFill>
                <a:schemeClr val="bg2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mit Pfeil 22">
              <a:extLst>
                <a:ext uri="{FF2B5EF4-FFF2-40B4-BE49-F238E27FC236}">
                  <a16:creationId xmlns:a16="http://schemas.microsoft.com/office/drawing/2014/main" id="{5A7FEEB8-6143-6AAE-8DBE-4FB3E86F405E}"/>
                </a:ext>
              </a:extLst>
            </p:cNvPr>
            <p:cNvCxnSpPr>
              <a:cxnSpLocks/>
            </p:cNvCxnSpPr>
            <p:nvPr/>
          </p:nvCxnSpPr>
          <p:spPr>
            <a:xfrm>
              <a:off x="4025750" y="4769572"/>
              <a:ext cx="467223" cy="1"/>
            </a:xfrm>
            <a:prstGeom prst="straightConnector1">
              <a:avLst/>
            </a:prstGeom>
            <a:ln>
              <a:solidFill>
                <a:schemeClr val="bg2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B59CCA19-067A-88C9-960E-134C2E66A98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686823" y="4388833"/>
              <a:ext cx="761478" cy="761478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9593E9D-796B-917E-0B20-6A4330E91E33}"/>
                </a:ext>
              </a:extLst>
            </p:cNvPr>
            <p:cNvSpPr txBox="1"/>
            <p:nvPr/>
          </p:nvSpPr>
          <p:spPr>
            <a:xfrm>
              <a:off x="621994" y="5813716"/>
              <a:ext cx="1887104" cy="173831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 defTabSz="914103"/>
              <a:r>
                <a:rPr lang="en-US" sz="1400">
                  <a:solidFill>
                    <a:srgbClr val="000000"/>
                  </a:solidFill>
                  <a:latin typeface="Trebuchet MS" panose="020B0603020202020204" pitchFamily="34" charset="0"/>
                </a:rPr>
                <a:t>Misogynists on Twitter</a:t>
              </a:r>
            </a:p>
          </p:txBody>
        </p:sp>
        <p:sp>
          <p:nvSpPr>
            <p:cNvPr id="50" name="Speech Bubble: Rectangle with Corners Rounded 49">
              <a:extLst>
                <a:ext uri="{FF2B5EF4-FFF2-40B4-BE49-F238E27FC236}">
                  <a16:creationId xmlns:a16="http://schemas.microsoft.com/office/drawing/2014/main" id="{D9F2FC3B-3D3B-08DC-6D48-218760EEB603}"/>
                </a:ext>
              </a:extLst>
            </p:cNvPr>
            <p:cNvSpPr/>
            <p:nvPr/>
          </p:nvSpPr>
          <p:spPr>
            <a:xfrm>
              <a:off x="617314" y="5299861"/>
              <a:ext cx="1896464" cy="337574"/>
            </a:xfrm>
            <a:prstGeom prst="wedgeRoundRectCallout">
              <a:avLst>
                <a:gd name="adj1" fmla="val -36230"/>
                <a:gd name="adj2" fmla="val 85073"/>
                <a:gd name="adj3" fmla="val 16667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3"/>
              <a:r>
                <a:rPr lang="en-US" sz="1400" dirty="0">
                  <a:solidFill>
                    <a:srgbClr val="FFFFFF"/>
                  </a:solidFill>
                  <a:latin typeface="Trebuchet MS" panose="020B0603020202020204" pitchFamily="34" charset="0"/>
                </a:rPr>
                <a:t>“Feminists are evil!”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E8A8A8FB-41B8-9024-97A4-3C7D1CF6F452}"/>
                </a:ext>
              </a:extLst>
            </p:cNvPr>
            <p:cNvSpPr txBox="1"/>
            <p:nvPr/>
          </p:nvSpPr>
          <p:spPr>
            <a:xfrm>
              <a:off x="2470674" y="5784178"/>
              <a:ext cx="1701074" cy="23290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 defTabSz="914103"/>
              <a:r>
                <a:rPr lang="en-US" sz="1400">
                  <a:solidFill>
                    <a:srgbClr val="000000"/>
                  </a:solidFill>
                  <a:latin typeface="Trebuchet MS" panose="020B0603020202020204" pitchFamily="34" charset="0"/>
                </a:rPr>
                <a:t>237k Retweets</a:t>
              </a:r>
            </a:p>
          </p:txBody>
        </p:sp>
        <p:pic>
          <p:nvPicPr>
            <p:cNvPr id="53" name="Graphic 52">
              <a:extLst>
                <a:ext uri="{FF2B5EF4-FFF2-40B4-BE49-F238E27FC236}">
                  <a16:creationId xmlns:a16="http://schemas.microsoft.com/office/drawing/2014/main" id="{EBE80CE1-46DB-7BFB-D542-B52A2319047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076649" y="5231580"/>
              <a:ext cx="489122" cy="489122"/>
            </a:xfrm>
            <a:prstGeom prst="rect">
              <a:avLst/>
            </a:prstGeom>
          </p:spPr>
        </p:pic>
        <p:sp>
          <p:nvSpPr>
            <p:cNvPr id="54" name="Speech Bubble: Rectangle with Corners Rounded 53">
              <a:extLst>
                <a:ext uri="{FF2B5EF4-FFF2-40B4-BE49-F238E27FC236}">
                  <a16:creationId xmlns:a16="http://schemas.microsoft.com/office/drawing/2014/main" id="{CCDFADD5-386A-7814-110C-CDB5C06B447E}"/>
                </a:ext>
              </a:extLst>
            </p:cNvPr>
            <p:cNvSpPr/>
            <p:nvPr/>
          </p:nvSpPr>
          <p:spPr>
            <a:xfrm>
              <a:off x="4044174" y="5299861"/>
              <a:ext cx="1896464" cy="337574"/>
            </a:xfrm>
            <a:prstGeom prst="wedgeRoundRectCallout">
              <a:avLst>
                <a:gd name="adj1" fmla="val -4086"/>
                <a:gd name="adj2" fmla="val -87985"/>
                <a:gd name="adj3" fmla="val 1666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3"/>
              <a:r>
                <a:rPr lang="en-US" sz="1400" dirty="0">
                  <a:solidFill>
                    <a:srgbClr val="FFFFFF"/>
                  </a:solidFill>
                  <a:latin typeface="Trebuchet MS" panose="020B0603020202020204" pitchFamily="34" charset="0"/>
                </a:rPr>
                <a:t>“Feminists are evil!”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F323FC26-15F2-471B-249E-5EEC48DE448D}"/>
                </a:ext>
              </a:extLst>
            </p:cNvPr>
            <p:cNvSpPr txBox="1"/>
            <p:nvPr/>
          </p:nvSpPr>
          <p:spPr>
            <a:xfrm>
              <a:off x="4217025" y="5784178"/>
              <a:ext cx="1701074" cy="23290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 defTabSz="914103"/>
              <a:r>
                <a:rPr lang="en-US" sz="1400">
                  <a:solidFill>
                    <a:srgbClr val="000000"/>
                  </a:solidFill>
                  <a:latin typeface="Trebuchet MS" panose="020B0603020202020204" pitchFamily="34" charset="0"/>
                </a:rPr>
                <a:t>Sexist Twitterbot</a:t>
              </a: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4CF3BB49-A6F7-ACA5-DD3E-506BE5F43597}"/>
                </a:ext>
              </a:extLst>
            </p:cNvPr>
            <p:cNvSpPr/>
            <p:nvPr/>
          </p:nvSpPr>
          <p:spPr>
            <a:xfrm>
              <a:off x="550863" y="4216892"/>
              <a:ext cx="5464931" cy="1888938"/>
            </a:xfrm>
            <a:prstGeom prst="rect">
              <a:avLst/>
            </a:prstGeom>
            <a:noFill/>
            <a:ln w="28575">
              <a:solidFill>
                <a:srgbClr val="009D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3"/>
              <a:endParaRPr lang="en-US" sz="1799">
                <a:solidFill>
                  <a:srgbClr val="FFFFFF"/>
                </a:solidFill>
                <a:latin typeface="Trebuchet MS" panose="020B0603020202020204" pitchFamily="34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F5761CE-02E3-0167-041A-A8C6F8CED672}"/>
              </a:ext>
            </a:extLst>
          </p:cNvPr>
          <p:cNvGrpSpPr/>
          <p:nvPr/>
        </p:nvGrpSpPr>
        <p:grpSpPr>
          <a:xfrm>
            <a:off x="6176183" y="4303705"/>
            <a:ext cx="5463244" cy="1888355"/>
            <a:chOff x="6176207" y="4216891"/>
            <a:chExt cx="5464931" cy="1983883"/>
          </a:xfrm>
        </p:grpSpPr>
        <p:pic>
          <p:nvPicPr>
            <p:cNvPr id="82" name="Inhaltsplatzhalter 8" descr="Datenbank mit einfarbiger Füllung">
              <a:extLst>
                <a:ext uri="{FF2B5EF4-FFF2-40B4-BE49-F238E27FC236}">
                  <a16:creationId xmlns:a16="http://schemas.microsoft.com/office/drawing/2014/main" id="{1D7622B9-9D23-F238-3304-41616B6D6E5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688803" y="4300499"/>
              <a:ext cx="938147" cy="938147"/>
            </a:xfrm>
            <a:prstGeom prst="rect">
              <a:avLst/>
            </a:prstGeom>
          </p:spPr>
        </p:pic>
        <p:sp>
          <p:nvSpPr>
            <p:cNvPr id="83" name="Würfel 10">
              <a:extLst>
                <a:ext uri="{FF2B5EF4-FFF2-40B4-BE49-F238E27FC236}">
                  <a16:creationId xmlns:a16="http://schemas.microsoft.com/office/drawing/2014/main" id="{AAB5B00B-6AF0-737A-B272-761BF1C5BCCD}"/>
                </a:ext>
              </a:extLst>
            </p:cNvPr>
            <p:cNvSpPr/>
            <p:nvPr/>
          </p:nvSpPr>
          <p:spPr>
            <a:xfrm>
              <a:off x="8481875" y="4388690"/>
              <a:ext cx="1021377" cy="761765"/>
            </a:xfrm>
            <a:prstGeom prst="cube">
              <a:avLst/>
            </a:prstGeom>
            <a:solidFill>
              <a:schemeClr val="tx1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03"/>
              <a:endParaRPr lang="en-US" sz="1599">
                <a:solidFill>
                  <a:srgbClr val="FFFFFF"/>
                </a:solidFill>
                <a:latin typeface="Trebuchet MS" panose="020B0603020202020204" pitchFamily="34" charset="0"/>
              </a:endParaRPr>
            </a:p>
          </p:txBody>
        </p:sp>
        <p:cxnSp>
          <p:nvCxnSpPr>
            <p:cNvPr id="84" name="Gerade Verbindung mit Pfeil 22">
              <a:extLst>
                <a:ext uri="{FF2B5EF4-FFF2-40B4-BE49-F238E27FC236}">
                  <a16:creationId xmlns:a16="http://schemas.microsoft.com/office/drawing/2014/main" id="{5CA598B8-D8F4-5F88-5C9F-75B398D1177D}"/>
                </a:ext>
              </a:extLst>
            </p:cNvPr>
            <p:cNvCxnSpPr>
              <a:cxnSpLocks/>
            </p:cNvCxnSpPr>
            <p:nvPr/>
          </p:nvCxnSpPr>
          <p:spPr>
            <a:xfrm>
              <a:off x="7744601" y="4769572"/>
              <a:ext cx="467223" cy="1"/>
            </a:xfrm>
            <a:prstGeom prst="straightConnector1">
              <a:avLst/>
            </a:prstGeom>
            <a:ln>
              <a:solidFill>
                <a:schemeClr val="bg2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mit Pfeil 22">
              <a:extLst>
                <a:ext uri="{FF2B5EF4-FFF2-40B4-BE49-F238E27FC236}">
                  <a16:creationId xmlns:a16="http://schemas.microsoft.com/office/drawing/2014/main" id="{16F0D3C6-F8A1-8FD6-8CDD-7FA5A4D42F07}"/>
                </a:ext>
              </a:extLst>
            </p:cNvPr>
            <p:cNvCxnSpPr>
              <a:cxnSpLocks/>
            </p:cNvCxnSpPr>
            <p:nvPr/>
          </p:nvCxnSpPr>
          <p:spPr>
            <a:xfrm>
              <a:off x="9697103" y="4769572"/>
              <a:ext cx="467223" cy="1"/>
            </a:xfrm>
            <a:prstGeom prst="straightConnector1">
              <a:avLst/>
            </a:prstGeom>
            <a:ln>
              <a:solidFill>
                <a:schemeClr val="bg2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86" name="Graphic 85">
              <a:extLst>
                <a:ext uri="{FF2B5EF4-FFF2-40B4-BE49-F238E27FC236}">
                  <a16:creationId xmlns:a16="http://schemas.microsoft.com/office/drawing/2014/main" id="{362B6F4A-C7F2-0385-F5BD-679C706E341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0358176" y="4388833"/>
              <a:ext cx="761478" cy="761478"/>
            </a:xfrm>
            <a:prstGeom prst="rect">
              <a:avLst/>
            </a:prstGeom>
          </p:spPr>
        </p:pic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AD337E5D-38E3-12C5-480D-9A4000F90636}"/>
                </a:ext>
              </a:extLst>
            </p:cNvPr>
            <p:cNvSpPr txBox="1"/>
            <p:nvPr/>
          </p:nvSpPr>
          <p:spPr>
            <a:xfrm>
              <a:off x="6214325" y="5813715"/>
              <a:ext cx="1887104" cy="173831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 defTabSz="914103"/>
              <a:r>
                <a:rPr lang="en-US" sz="1400">
                  <a:solidFill>
                    <a:srgbClr val="000000"/>
                  </a:solidFill>
                  <a:latin typeface="Trebuchet MS" panose="020B0603020202020204" pitchFamily="34" charset="0"/>
                </a:rPr>
                <a:t>Biased judges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43EDD2D9-D458-BD4F-EBF8-2FD1F093425B}"/>
                </a:ext>
              </a:extLst>
            </p:cNvPr>
            <p:cNvSpPr txBox="1"/>
            <p:nvPr/>
          </p:nvSpPr>
          <p:spPr>
            <a:xfrm>
              <a:off x="8142027" y="5784178"/>
              <a:ext cx="1701074" cy="23290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 defTabSz="914103"/>
              <a:r>
                <a:rPr lang="en-US" sz="1400">
                  <a:solidFill>
                    <a:srgbClr val="000000"/>
                  </a:solidFill>
                  <a:latin typeface="Trebuchet MS" panose="020B0603020202020204" pitchFamily="34" charset="0"/>
                </a:rPr>
                <a:t>Blind trust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45CFC5E6-15B1-C415-3F72-3A29B2B6F074}"/>
                </a:ext>
              </a:extLst>
            </p:cNvPr>
            <p:cNvSpPr txBox="1"/>
            <p:nvPr/>
          </p:nvSpPr>
          <p:spPr>
            <a:xfrm>
              <a:off x="9888377" y="5784178"/>
              <a:ext cx="1701074" cy="23290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 defTabSz="914103"/>
              <a:r>
                <a:rPr lang="en-US" sz="1400">
                  <a:solidFill>
                    <a:srgbClr val="000000"/>
                  </a:solidFill>
                  <a:latin typeface="Trebuchet MS" panose="020B0603020202020204" pitchFamily="34" charset="0"/>
                </a:rPr>
                <a:t>Bias propagation</a:t>
              </a:r>
            </a:p>
          </p:txBody>
        </p:sp>
        <p:pic>
          <p:nvPicPr>
            <p:cNvPr id="94" name="Graphic 93">
              <a:extLst>
                <a:ext uri="{FF2B5EF4-FFF2-40B4-BE49-F238E27FC236}">
                  <a16:creationId xmlns:a16="http://schemas.microsoft.com/office/drawing/2014/main" id="{C3D98EEC-516E-7869-AFD0-2F2F6E8AAB1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735490" y="5233264"/>
              <a:ext cx="514146" cy="514146"/>
            </a:xfrm>
            <a:prstGeom prst="rect">
              <a:avLst/>
            </a:prstGeom>
          </p:spPr>
        </p:pic>
        <p:pic>
          <p:nvPicPr>
            <p:cNvPr id="96" name="Graphic 95">
              <a:extLst>
                <a:ext uri="{FF2B5EF4-FFF2-40B4-BE49-F238E27FC236}">
                  <a16:creationId xmlns:a16="http://schemas.microsoft.com/office/drawing/2014/main" id="{8452273C-6AC9-2AE4-480F-2C505000960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6900804" y="5233264"/>
              <a:ext cx="514146" cy="514146"/>
            </a:xfrm>
            <a:prstGeom prst="rect">
              <a:avLst/>
            </a:prstGeom>
          </p:spPr>
        </p:pic>
        <p:pic>
          <p:nvPicPr>
            <p:cNvPr id="100" name="Graphic 99">
              <a:extLst>
                <a:ext uri="{FF2B5EF4-FFF2-40B4-BE49-F238E27FC236}">
                  <a16:creationId xmlns:a16="http://schemas.microsoft.com/office/drawing/2014/main" id="{F9CB5B9B-67D3-DE37-CDC7-1B46E75DA75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0480090" y="5258664"/>
              <a:ext cx="514146" cy="514146"/>
            </a:xfrm>
            <a:prstGeom prst="rect">
              <a:avLst/>
            </a:prstGeom>
          </p:spPr>
        </p:pic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3037395B-5E18-92AA-3F6F-D3C1699A09F9}"/>
                </a:ext>
              </a:extLst>
            </p:cNvPr>
            <p:cNvSpPr/>
            <p:nvPr/>
          </p:nvSpPr>
          <p:spPr>
            <a:xfrm>
              <a:off x="6176207" y="4216891"/>
              <a:ext cx="5464931" cy="1983883"/>
            </a:xfrm>
            <a:prstGeom prst="rect">
              <a:avLst/>
            </a:prstGeom>
            <a:noFill/>
            <a:ln w="28575">
              <a:solidFill>
                <a:srgbClr val="009D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3"/>
              <a:endParaRPr lang="en-US" sz="1799">
                <a:solidFill>
                  <a:srgbClr val="FFFFFF"/>
                </a:solidFill>
                <a:latin typeface="Trebuchet MS" panose="020B0603020202020204" pitchFamily="34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3415500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5290B0-5CE5-7ED5-AD17-3CC3E1514E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407199"/>
            <a:ext cx="7959718" cy="638175"/>
          </a:xfrm>
        </p:spPr>
        <p:txBody>
          <a:bodyPr/>
          <a:lstStyle/>
          <a:p>
            <a:r>
              <a:rPr lang="en-US" sz="2000" dirty="0">
                <a:latin typeface="Trebuchet MS" panose="020B0603020202020204" pitchFamily="34" charset="0"/>
              </a:rPr>
              <a:t>There are many formalized fairness metrics to tackle </a:t>
            </a:r>
            <a:br>
              <a:rPr lang="en-US" sz="2000" dirty="0">
                <a:latin typeface="Trebuchet MS" panose="020B0603020202020204" pitchFamily="34" charset="0"/>
              </a:rPr>
            </a:br>
            <a:r>
              <a:rPr lang="en-US" sz="2000" dirty="0">
                <a:latin typeface="Trebuchet MS" panose="020B0603020202020204" pitchFamily="34" charset="0"/>
              </a:rPr>
              <a:t>undesirable outcomes: e.g., statistical parity and equal opportunity</a:t>
            </a:r>
            <a:endParaRPr lang="en-US" sz="200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A81184D-B277-374E-8D4D-55FFDB1F59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48315-5C55-43F9-A29F-C34B29E96AC2}" type="datetime1">
              <a:rPr lang="de-DE" smtClean="0"/>
              <a:t>14.02.2024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2BB85E-6149-FA7F-BD90-4A2BFE1E04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4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4A5195D-63BB-7939-9F5D-01336BABA31C}"/>
              </a:ext>
            </a:extLst>
          </p:cNvPr>
          <p:cNvGrpSpPr/>
          <p:nvPr/>
        </p:nvGrpSpPr>
        <p:grpSpPr>
          <a:xfrm>
            <a:off x="9548447" y="2770064"/>
            <a:ext cx="1553603" cy="1035735"/>
            <a:chOff x="4051113" y="2212978"/>
            <a:chExt cx="1554562" cy="1036375"/>
          </a:xfrm>
        </p:grpSpPr>
        <p:graphicFrame>
          <p:nvGraphicFramePr>
            <p:cNvPr id="8" name="Chart 7">
              <a:extLst>
                <a:ext uri="{FF2B5EF4-FFF2-40B4-BE49-F238E27FC236}">
                  <a16:creationId xmlns:a16="http://schemas.microsoft.com/office/drawing/2014/main" id="{DAC79130-94CF-915E-8AF1-AD2C6231EF56}"/>
                </a:ext>
              </a:extLst>
            </p:cNvPr>
            <p:cNvGraphicFramePr/>
            <p:nvPr/>
          </p:nvGraphicFramePr>
          <p:xfrm>
            <a:off x="4051113" y="2212978"/>
            <a:ext cx="1554562" cy="103637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301CEA53-7744-2603-0279-3E0F7D6E57D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4866601" y="2485879"/>
              <a:ext cx="217847" cy="217847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E555C35B-2394-7F98-EACC-1E6EC21F135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4645427" y="2757372"/>
              <a:ext cx="217847" cy="217847"/>
            </a:xfrm>
            <a:prstGeom prst="rect">
              <a:avLst/>
            </a:prstGeom>
          </p:spPr>
        </p:pic>
      </p:grp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C66F25A1-5872-80F2-95B5-9C9FA72C1835}"/>
              </a:ext>
            </a:extLst>
          </p:cNvPr>
          <p:cNvSpPr txBox="1">
            <a:spLocks/>
          </p:cNvSpPr>
          <p:nvPr/>
        </p:nvSpPr>
        <p:spPr>
          <a:xfrm>
            <a:off x="806162" y="6034701"/>
            <a:ext cx="11081159" cy="143962"/>
          </a:xfrm>
          <a:prstGeom prst="rect">
            <a:avLst/>
          </a:prstGeom>
        </p:spPr>
        <p:txBody>
          <a:bodyPr>
            <a:noAutofit/>
          </a:bodyPr>
          <a:lstStyle>
            <a:lvl1pPr marL="203652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Clr>
                <a:srgbClr val="009D6D"/>
              </a:buClr>
              <a:buSzPct val="100000"/>
              <a:buFont typeface="Arial" panose="020B0604020202020204" pitchFamily="34" charset="0"/>
              <a:buChar char="•"/>
              <a:defRPr lang="de-DE" altLang="de-DE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0423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Clr>
                <a:srgbClr val="009D6D"/>
              </a:buClr>
              <a:buSzPct val="100000"/>
              <a:buFont typeface="Wingdings" panose="05000000000000000000" pitchFamily="2" charset="2"/>
              <a:buChar char="§"/>
              <a:defRPr lang="en-US" alt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7194" indent="-198888" algn="l" defTabSz="674073" rtl="0" eaLnBrk="1" latinLnBrk="0" hangingPunct="1">
              <a:lnSpc>
                <a:spcPct val="90000"/>
              </a:lnSpc>
              <a:spcBef>
                <a:spcPts val="360"/>
              </a:spcBef>
              <a:buClr>
                <a:srgbClr val="009D6D"/>
              </a:buClr>
              <a:buSzPct val="60000"/>
              <a:buFont typeface="Arial" panose="020B0604020202020204" pitchFamily="34" charset="0"/>
              <a:buChar char="─"/>
              <a:defRPr lang="en-US" alt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729" indent="-203652" algn="l" defTabSz="685983" rtl="0" eaLnBrk="1" latinLnBrk="0" hangingPunct="1">
              <a:lnSpc>
                <a:spcPct val="90000"/>
              </a:lnSpc>
              <a:spcBef>
                <a:spcPts val="360"/>
              </a:spcBef>
              <a:buClr>
                <a:srgbClr val="009D6D"/>
              </a:buClr>
              <a:buSzPct val="100000"/>
              <a:buFont typeface="Courier New" panose="02070309020205020404" pitchFamily="49" charset="0"/>
              <a:buChar char="o"/>
              <a:defRPr lang="en-US" alt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75500" indent="-198888" algn="l" defTabSz="685983" rtl="0" eaLnBrk="1" latinLnBrk="0" hangingPunct="1">
              <a:lnSpc>
                <a:spcPct val="90000"/>
              </a:lnSpc>
              <a:spcBef>
                <a:spcPts val="360"/>
              </a:spcBef>
              <a:buClr>
                <a:schemeClr val="tx2"/>
              </a:buClr>
              <a:buSzPct val="60000"/>
              <a:buFont typeface="Wingdings" panose="05000000000000000000" pitchFamily="2" charset="2"/>
              <a:buChar char="v"/>
              <a:defRPr lang="en-US" alt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914050">
              <a:buNone/>
            </a:pPr>
            <a:r>
              <a:rPr lang="en-US" altLang="de-DE" sz="933" i="1" dirty="0" err="1">
                <a:solidFill>
                  <a:prstClr val="black">
                    <a:lumMod val="50000"/>
                    <a:lumOff val="50000"/>
                  </a:prstClr>
                </a:solidFill>
                <a:latin typeface="Trebuchet MS" panose="020B0603020202020204" pitchFamily="34" charset="0"/>
              </a:rPr>
              <a:t>Friedler</a:t>
            </a:r>
            <a:r>
              <a:rPr lang="en-US" altLang="de-DE" sz="933" i="1" dirty="0">
                <a:solidFill>
                  <a:prstClr val="black">
                    <a:lumMod val="50000"/>
                    <a:lumOff val="50000"/>
                  </a:prstClr>
                </a:solidFill>
                <a:latin typeface="Trebuchet MS" panose="020B0603020202020204" pitchFamily="34" charset="0"/>
              </a:rPr>
              <a:t> et al. (2021), </a:t>
            </a:r>
            <a:r>
              <a:rPr lang="en-US" altLang="de-DE" sz="933" i="1" dirty="0">
                <a:solidFill>
                  <a:prstClr val="black">
                    <a:lumMod val="50000"/>
                    <a:lumOff val="50000"/>
                  </a:prstClr>
                </a:solidFill>
                <a:latin typeface="Trebuchet MS" panose="020B0603020202020204" pitchFamily="34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research.google.com/bigpicture/attacking-discrimination-in-ml/</a:t>
            </a:r>
            <a:endParaRPr lang="en-US" altLang="de-DE" sz="933" i="1" dirty="0">
              <a:solidFill>
                <a:prstClr val="black">
                  <a:lumMod val="50000"/>
                  <a:lumOff val="50000"/>
                </a:prstClr>
              </a:solidFill>
              <a:latin typeface="Trebuchet MS" panose="020B06030202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4DC4979-BD61-C15B-86FF-D70E9822D69E}"/>
              </a:ext>
            </a:extLst>
          </p:cNvPr>
          <p:cNvGrpSpPr/>
          <p:nvPr/>
        </p:nvGrpSpPr>
        <p:grpSpPr>
          <a:xfrm>
            <a:off x="6723635" y="1982232"/>
            <a:ext cx="2242589" cy="1356740"/>
            <a:chOff x="1731373" y="2162083"/>
            <a:chExt cx="2243973" cy="1357577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6593DB2D-FBFB-B673-BFCA-6D2C84660D8A}"/>
                </a:ext>
              </a:extLst>
            </p:cNvPr>
            <p:cNvGrpSpPr/>
            <p:nvPr/>
          </p:nvGrpSpPr>
          <p:grpSpPr>
            <a:xfrm>
              <a:off x="2338869" y="2782426"/>
              <a:ext cx="1107949" cy="737234"/>
              <a:chOff x="2202561" y="2062691"/>
              <a:chExt cx="1107949" cy="737234"/>
            </a:xfrm>
          </p:grpSpPr>
          <p:pic>
            <p:nvPicPr>
              <p:cNvPr id="15" name="Graphic 14">
                <a:extLst>
                  <a:ext uri="{FF2B5EF4-FFF2-40B4-BE49-F238E27FC236}">
                    <a16:creationId xmlns:a16="http://schemas.microsoft.com/office/drawing/2014/main" id="{A053BBC9-9407-0F7C-EC36-81006EED93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2834302" y="2062691"/>
                <a:ext cx="476208" cy="476208"/>
              </a:xfrm>
              <a:prstGeom prst="rect">
                <a:avLst/>
              </a:prstGeom>
            </p:spPr>
          </p:pic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E7F748F4-700F-90DA-1853-79CF1CEEB5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2202561" y="2323717"/>
                <a:ext cx="476208" cy="476208"/>
              </a:xfrm>
              <a:prstGeom prst="rect">
                <a:avLst/>
              </a:prstGeom>
            </p:spPr>
          </p:pic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E84E9A2-47EF-8746-5056-2006F5412976}"/>
                </a:ext>
              </a:extLst>
            </p:cNvPr>
            <p:cNvSpPr txBox="1"/>
            <p:nvPr/>
          </p:nvSpPr>
          <p:spPr>
            <a:xfrm>
              <a:off x="1731373" y="2162083"/>
              <a:ext cx="2243973" cy="21873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 defTabSz="609205"/>
              <a:r>
                <a:rPr lang="de-DE" sz="1400">
                  <a:solidFill>
                    <a:prstClr val="black"/>
                  </a:solidFill>
                  <a:latin typeface="Trebuchet MS" panose="020B0603020202020204" pitchFamily="34" charset="0"/>
                </a:rPr>
                <a:t>Pool </a:t>
              </a:r>
              <a:r>
                <a:rPr lang="de-DE" sz="1400" err="1">
                  <a:solidFill>
                    <a:prstClr val="black"/>
                  </a:solidFill>
                  <a:latin typeface="Trebuchet MS" panose="020B0603020202020204" pitchFamily="34" charset="0"/>
                </a:rPr>
                <a:t>of</a:t>
              </a:r>
              <a:r>
                <a:rPr lang="de-DE" sz="1400">
                  <a:solidFill>
                    <a:prstClr val="black"/>
                  </a:solidFill>
                  <a:latin typeface="Trebuchet MS" panose="020B0603020202020204" pitchFamily="34" charset="0"/>
                </a:rPr>
                <a:t> </a:t>
              </a:r>
              <a:r>
                <a:rPr lang="de-DE" sz="1400" err="1">
                  <a:solidFill>
                    <a:prstClr val="black"/>
                  </a:solidFill>
                  <a:latin typeface="Trebuchet MS" panose="020B0603020202020204" pitchFamily="34" charset="0"/>
                </a:rPr>
                <a:t>qualified</a:t>
              </a:r>
              <a:r>
                <a:rPr lang="de-DE" sz="1400">
                  <a:solidFill>
                    <a:prstClr val="black"/>
                  </a:solidFill>
                  <a:latin typeface="Trebuchet MS" panose="020B0603020202020204" pitchFamily="34" charset="0"/>
                </a:rPr>
                <a:t> </a:t>
              </a:r>
              <a:r>
                <a:rPr lang="de-DE" sz="1400" err="1">
                  <a:solidFill>
                    <a:prstClr val="black"/>
                  </a:solidFill>
                  <a:latin typeface="Trebuchet MS" panose="020B0603020202020204" pitchFamily="34" charset="0"/>
                </a:rPr>
                <a:t>applicants</a:t>
              </a:r>
              <a:endParaRPr lang="en-US" sz="1400">
                <a:solidFill>
                  <a:prstClr val="black"/>
                </a:solidFill>
                <a:latin typeface="Trebuchet MS" panose="020B0603020202020204" pitchFamily="34" charset="0"/>
              </a:endParaRPr>
            </a:p>
          </p:txBody>
        </p:sp>
      </p:grp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E3203411-1243-86C7-A23B-891A8BAB53CD}"/>
              </a:ext>
            </a:extLst>
          </p:cNvPr>
          <p:cNvCxnSpPr>
            <a:cxnSpLocks/>
          </p:cNvCxnSpPr>
          <p:nvPr/>
        </p:nvCxnSpPr>
        <p:spPr>
          <a:xfrm>
            <a:off x="8699592" y="2958376"/>
            <a:ext cx="53326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A93F29E-7084-B0F3-46B8-C58204356E10}"/>
              </a:ext>
            </a:extLst>
          </p:cNvPr>
          <p:cNvGrpSpPr/>
          <p:nvPr/>
        </p:nvGrpSpPr>
        <p:grpSpPr>
          <a:xfrm>
            <a:off x="9548448" y="1972200"/>
            <a:ext cx="1553603" cy="1035735"/>
            <a:chOff x="4051113" y="2212978"/>
            <a:chExt cx="1554562" cy="1036375"/>
          </a:xfrm>
        </p:grpSpPr>
        <p:graphicFrame>
          <p:nvGraphicFramePr>
            <p:cNvPr id="19" name="Chart 18">
              <a:extLst>
                <a:ext uri="{FF2B5EF4-FFF2-40B4-BE49-F238E27FC236}">
                  <a16:creationId xmlns:a16="http://schemas.microsoft.com/office/drawing/2014/main" id="{48A373C0-2048-E1A3-58B9-DAD3DEFC16BA}"/>
                </a:ext>
              </a:extLst>
            </p:cNvPr>
            <p:cNvGraphicFramePr/>
            <p:nvPr/>
          </p:nvGraphicFramePr>
          <p:xfrm>
            <a:off x="4051113" y="2212978"/>
            <a:ext cx="1554562" cy="103637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3"/>
            </a:graphicData>
          </a:graphic>
        </p:graphicFrame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E20782D0-E6B0-31A9-34A8-512E939A061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4866601" y="2485879"/>
              <a:ext cx="217847" cy="217847"/>
            </a:xfrm>
            <a:prstGeom prst="rect">
              <a:avLst/>
            </a:prstGeom>
          </p:spPr>
        </p:pic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58C6624E-14C8-A9C9-8CB9-9C3521CA805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4645427" y="2757372"/>
              <a:ext cx="217847" cy="217847"/>
            </a:xfrm>
            <a:prstGeom prst="rect">
              <a:avLst/>
            </a:prstGeom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E11CF87-0200-1D1B-834F-A3D6BA5FB911}"/>
              </a:ext>
            </a:extLst>
          </p:cNvPr>
          <p:cNvGrpSpPr/>
          <p:nvPr/>
        </p:nvGrpSpPr>
        <p:grpSpPr>
          <a:xfrm>
            <a:off x="7071406" y="2238821"/>
            <a:ext cx="1439112" cy="1439112"/>
            <a:chOff x="5304006" y="1633293"/>
            <a:chExt cx="1080000" cy="1080000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D475D04B-E8A4-F918-F49E-667196889895}"/>
                </a:ext>
              </a:extLst>
            </p:cNvPr>
            <p:cNvSpPr/>
            <p:nvPr/>
          </p:nvSpPr>
          <p:spPr>
            <a:xfrm>
              <a:off x="5304006" y="1633293"/>
              <a:ext cx="1080000" cy="1080000"/>
            </a:xfrm>
            <a:prstGeom prst="ellipse">
              <a:avLst/>
            </a:prstGeom>
            <a:solidFill>
              <a:srgbClr val="009D6D"/>
            </a:solidFill>
            <a:ln>
              <a:solidFill>
                <a:srgbClr val="009D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84" tIns="45693" rIns="91384" bIns="456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09205"/>
              <a:endParaRPr lang="en-US" sz="1798">
                <a:solidFill>
                  <a:prstClr val="black"/>
                </a:solidFill>
                <a:latin typeface="Trebuchet MS" panose="020B0603020202020204" pitchFamily="34" charset="0"/>
              </a:endParaRPr>
            </a:p>
          </p:txBody>
        </p:sp>
        <p:pic>
          <p:nvPicPr>
            <p:cNvPr id="24" name="Graphic 23" descr="Checkmark with solid fill">
              <a:extLst>
                <a:ext uri="{FF2B5EF4-FFF2-40B4-BE49-F238E27FC236}">
                  <a16:creationId xmlns:a16="http://schemas.microsoft.com/office/drawing/2014/main" id="{757CAC61-25E5-9F8A-3FE7-4E987D952B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5606952" y="1936239"/>
              <a:ext cx="474109" cy="474109"/>
            </a:xfrm>
            <a:prstGeom prst="rect">
              <a:avLst/>
            </a:prstGeom>
          </p:spPr>
        </p:pic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7B5BE445-DB08-786C-F950-A63A2C6DBD67}"/>
              </a:ext>
            </a:extLst>
          </p:cNvPr>
          <p:cNvSpPr txBox="1"/>
          <p:nvPr/>
        </p:nvSpPr>
        <p:spPr>
          <a:xfrm>
            <a:off x="2427092" y="1458305"/>
            <a:ext cx="1811758" cy="37130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 defTabSz="609205"/>
            <a:r>
              <a:rPr lang="de-DE" sz="1598" b="1">
                <a:solidFill>
                  <a:prstClr val="black"/>
                </a:solidFill>
                <a:latin typeface="Trebuchet MS" panose="020B0603020202020204" pitchFamily="34" charset="0"/>
              </a:rPr>
              <a:t>Statistical Parity</a:t>
            </a:r>
            <a:endParaRPr lang="en-US" sz="1598" b="1">
              <a:solidFill>
                <a:prstClr val="black"/>
              </a:solidFill>
              <a:latin typeface="Trebuchet MS" panose="020B0603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F2BE6E2-2567-7543-BA73-66BDB714A084}"/>
              </a:ext>
            </a:extLst>
          </p:cNvPr>
          <p:cNvSpPr txBox="1"/>
          <p:nvPr/>
        </p:nvSpPr>
        <p:spPr>
          <a:xfrm>
            <a:off x="8163444" y="1458305"/>
            <a:ext cx="2063543" cy="37130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 defTabSz="609205"/>
            <a:r>
              <a:rPr lang="de-DE" sz="1598" b="1" err="1">
                <a:solidFill>
                  <a:prstClr val="black"/>
                </a:solidFill>
                <a:latin typeface="Trebuchet MS" panose="020B0603020202020204" pitchFamily="34" charset="0"/>
              </a:rPr>
              <a:t>Equal</a:t>
            </a:r>
            <a:r>
              <a:rPr lang="de-DE" sz="1598" b="1">
                <a:solidFill>
                  <a:prstClr val="black"/>
                </a:solidFill>
                <a:latin typeface="Trebuchet MS" panose="020B0603020202020204" pitchFamily="34" charset="0"/>
              </a:rPr>
              <a:t> </a:t>
            </a:r>
            <a:r>
              <a:rPr lang="de-DE" sz="1598" b="1" err="1">
                <a:solidFill>
                  <a:prstClr val="black"/>
                </a:solidFill>
                <a:latin typeface="Trebuchet MS" panose="020B0603020202020204" pitchFamily="34" charset="0"/>
              </a:rPr>
              <a:t>Opportunity</a:t>
            </a:r>
            <a:endParaRPr lang="en-US" sz="1598" b="1">
              <a:solidFill>
                <a:prstClr val="black"/>
              </a:solidFill>
              <a:latin typeface="Trebuchet MS" panose="020B0603020202020204" pitchFamily="34" charset="0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AA4CE9E7-A5BB-21F7-8842-74AD9D4F6571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603457" y="4040518"/>
            <a:ext cx="4725531" cy="126326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237D1C33-8C18-F77F-2236-43DFEBC5A44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68444" y="4036022"/>
            <a:ext cx="4725531" cy="1272258"/>
          </a:xfrm>
          <a:prstGeom prst="rect">
            <a:avLst/>
          </a:prstGeom>
        </p:spPr>
      </p:pic>
      <p:pic>
        <p:nvPicPr>
          <p:cNvPr id="29" name="Grafik 10" descr="Frau mit einfarbiger Füllung">
            <a:extLst>
              <a:ext uri="{FF2B5EF4-FFF2-40B4-BE49-F238E27FC236}">
                <a16:creationId xmlns:a16="http://schemas.microsoft.com/office/drawing/2014/main" id="{E1896169-FD6F-4096-D44A-DE273FF8F9B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423212" y="2194766"/>
            <a:ext cx="590602" cy="590602"/>
          </a:xfrm>
          <a:prstGeom prst="rect">
            <a:avLst/>
          </a:prstGeom>
        </p:spPr>
      </p:pic>
      <p:pic>
        <p:nvPicPr>
          <p:cNvPr id="30" name="Grafik 12" descr="Mann mit einfarbiger Füllung">
            <a:extLst>
              <a:ext uri="{FF2B5EF4-FFF2-40B4-BE49-F238E27FC236}">
                <a16:creationId xmlns:a16="http://schemas.microsoft.com/office/drawing/2014/main" id="{965F8D48-9BCA-DA98-5EC1-DF1504FED5C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423212" y="2992629"/>
            <a:ext cx="590602" cy="590602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141952C6-98A9-64AB-93CF-481C530D5A81}"/>
              </a:ext>
            </a:extLst>
          </p:cNvPr>
          <p:cNvGrpSpPr/>
          <p:nvPr/>
        </p:nvGrpSpPr>
        <p:grpSpPr>
          <a:xfrm>
            <a:off x="806162" y="1878412"/>
            <a:ext cx="2775850" cy="1962641"/>
            <a:chOff x="1464578" y="2100839"/>
            <a:chExt cx="2777563" cy="1963848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F84A4947-9A00-4A13-7DEA-3D3AF036ED13}"/>
                </a:ext>
              </a:extLst>
            </p:cNvPr>
            <p:cNvGrpSpPr/>
            <p:nvPr/>
          </p:nvGrpSpPr>
          <p:grpSpPr>
            <a:xfrm>
              <a:off x="1464578" y="2212978"/>
              <a:ext cx="2777563" cy="1851709"/>
              <a:chOff x="1328270" y="1493243"/>
              <a:chExt cx="2777563" cy="1851709"/>
            </a:xfrm>
          </p:grpSpPr>
          <p:graphicFrame>
            <p:nvGraphicFramePr>
              <p:cNvPr id="34" name="Chart 33">
                <a:extLst>
                  <a:ext uri="{FF2B5EF4-FFF2-40B4-BE49-F238E27FC236}">
                    <a16:creationId xmlns:a16="http://schemas.microsoft.com/office/drawing/2014/main" id="{A82259A1-1EA1-165B-19DC-026103C68204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762226994"/>
                  </p:ext>
                </p:extLst>
              </p:nvPr>
            </p:nvGraphicFramePr>
            <p:xfrm>
              <a:off x="1328270" y="1493243"/>
              <a:ext cx="2777563" cy="1851709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2"/>
              </a:graphicData>
            </a:graphic>
          </p:graphicFrame>
          <p:pic>
            <p:nvPicPr>
              <p:cNvPr id="35" name="Graphic 34">
                <a:extLst>
                  <a:ext uri="{FF2B5EF4-FFF2-40B4-BE49-F238E27FC236}">
                    <a16:creationId xmlns:a16="http://schemas.microsoft.com/office/drawing/2014/main" id="{786D353F-0C39-50F3-EFDE-54B61FA408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4"/>
                  </a:ext>
                </a:extLst>
              </a:blip>
              <a:srcRect/>
              <a:stretch/>
            </p:blipFill>
            <p:spPr>
              <a:xfrm>
                <a:off x="2834302" y="2062691"/>
                <a:ext cx="476208" cy="476208"/>
              </a:xfrm>
              <a:prstGeom prst="rect">
                <a:avLst/>
              </a:prstGeom>
            </p:spPr>
          </p:pic>
          <p:pic>
            <p:nvPicPr>
              <p:cNvPr id="36" name="Graphic 35">
                <a:extLst>
                  <a:ext uri="{FF2B5EF4-FFF2-40B4-BE49-F238E27FC236}">
                    <a16:creationId xmlns:a16="http://schemas.microsoft.com/office/drawing/2014/main" id="{AE148860-9B14-5AE4-9057-E410EB293ED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6"/>
                  </a:ext>
                </a:extLst>
              </a:blip>
              <a:srcRect/>
              <a:stretch/>
            </p:blipFill>
            <p:spPr>
              <a:xfrm>
                <a:off x="2202561" y="2323718"/>
                <a:ext cx="476208" cy="476208"/>
              </a:xfrm>
              <a:prstGeom prst="rect">
                <a:avLst/>
              </a:prstGeom>
            </p:spPr>
          </p:pic>
        </p:grp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D87FB08-20B3-A64F-1E8B-67789738030B}"/>
                </a:ext>
              </a:extLst>
            </p:cNvPr>
            <p:cNvSpPr txBox="1"/>
            <p:nvPr/>
          </p:nvSpPr>
          <p:spPr>
            <a:xfrm>
              <a:off x="1998167" y="2100839"/>
              <a:ext cx="1710382" cy="194825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 defTabSz="609205"/>
              <a:r>
                <a:rPr lang="de-DE" sz="1400" dirty="0">
                  <a:solidFill>
                    <a:prstClr val="black"/>
                  </a:solidFill>
                  <a:latin typeface="Trebuchet MS" panose="020B0603020202020204" pitchFamily="34" charset="0"/>
                </a:rPr>
                <a:t>Pool </a:t>
              </a:r>
              <a:r>
                <a:rPr lang="de-DE" sz="1400" dirty="0" err="1">
                  <a:solidFill>
                    <a:prstClr val="black"/>
                  </a:solidFill>
                  <a:latin typeface="Trebuchet MS" panose="020B0603020202020204" pitchFamily="34" charset="0"/>
                </a:rPr>
                <a:t>of</a:t>
              </a:r>
              <a:r>
                <a:rPr lang="de-DE" sz="1400" dirty="0">
                  <a:solidFill>
                    <a:prstClr val="black"/>
                  </a:solidFill>
                  <a:latin typeface="Trebuchet MS" panose="020B0603020202020204" pitchFamily="34" charset="0"/>
                </a:rPr>
                <a:t> </a:t>
              </a:r>
              <a:r>
                <a:rPr lang="de-DE" sz="1400" dirty="0" err="1">
                  <a:solidFill>
                    <a:prstClr val="black"/>
                  </a:solidFill>
                  <a:latin typeface="Trebuchet MS" panose="020B0603020202020204" pitchFamily="34" charset="0"/>
                </a:rPr>
                <a:t>applicants</a:t>
              </a:r>
              <a:endParaRPr lang="en-US" sz="1400" dirty="0">
                <a:solidFill>
                  <a:prstClr val="black"/>
                </a:solidFill>
                <a:latin typeface="Trebuchet MS" panose="020B0603020202020204" pitchFamily="34" charset="0"/>
              </a:endParaRPr>
            </a:p>
          </p:txBody>
        </p:sp>
      </p:grp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71C18E5F-1A72-EFE7-56F0-A4075F91EE46}"/>
              </a:ext>
            </a:extLst>
          </p:cNvPr>
          <p:cNvCxnSpPr>
            <a:cxnSpLocks/>
          </p:cNvCxnSpPr>
          <p:nvPr/>
        </p:nvCxnSpPr>
        <p:spPr>
          <a:xfrm>
            <a:off x="3048750" y="2940294"/>
            <a:ext cx="53326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oup 37">
            <a:extLst>
              <a:ext uri="{FF2B5EF4-FFF2-40B4-BE49-F238E27FC236}">
                <a16:creationId xmlns:a16="http://schemas.microsoft.com/office/drawing/2014/main" id="{23B98795-6369-2408-5D82-B33735097966}"/>
              </a:ext>
            </a:extLst>
          </p:cNvPr>
          <p:cNvGrpSpPr/>
          <p:nvPr/>
        </p:nvGrpSpPr>
        <p:grpSpPr>
          <a:xfrm>
            <a:off x="3897607" y="1954120"/>
            <a:ext cx="1553603" cy="1035735"/>
            <a:chOff x="4051113" y="2212978"/>
            <a:chExt cx="1554562" cy="1036375"/>
          </a:xfrm>
        </p:grpSpPr>
        <p:graphicFrame>
          <p:nvGraphicFramePr>
            <p:cNvPr id="39" name="Chart 38">
              <a:extLst>
                <a:ext uri="{FF2B5EF4-FFF2-40B4-BE49-F238E27FC236}">
                  <a16:creationId xmlns:a16="http://schemas.microsoft.com/office/drawing/2014/main" id="{61F4C8C3-FC01-9AA5-33CC-6F6D1EEE867E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576539037"/>
                </p:ext>
              </p:extLst>
            </p:nvPr>
          </p:nvGraphicFramePr>
          <p:xfrm>
            <a:off x="4051113" y="2212978"/>
            <a:ext cx="1554562" cy="103637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7"/>
            </a:graphicData>
          </a:graphic>
        </p:graphicFrame>
        <p:pic>
          <p:nvPicPr>
            <p:cNvPr id="40" name="Graphic 39">
              <a:extLst>
                <a:ext uri="{FF2B5EF4-FFF2-40B4-BE49-F238E27FC236}">
                  <a16:creationId xmlns:a16="http://schemas.microsoft.com/office/drawing/2014/main" id="{6D9529E9-A417-DFDF-D896-2BA22ABAF9A5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rcRect/>
            <a:stretch/>
          </p:blipFill>
          <p:spPr>
            <a:xfrm>
              <a:off x="4866601" y="2537522"/>
              <a:ext cx="242404" cy="242404"/>
            </a:xfrm>
            <a:prstGeom prst="rect">
              <a:avLst/>
            </a:prstGeom>
          </p:spPr>
        </p:pic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2013D85F-93EF-B4FC-232B-47A2978CFEC1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rcRect/>
            <a:stretch/>
          </p:blipFill>
          <p:spPr>
            <a:xfrm>
              <a:off x="4560761" y="2648147"/>
              <a:ext cx="242405" cy="242405"/>
            </a:xfrm>
            <a:prstGeom prst="rect">
              <a:avLst/>
            </a:prstGeom>
          </p:spPr>
        </p:pic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B1FBB8CD-6D9C-3DAB-CDBC-DD3EE8098265}"/>
              </a:ext>
            </a:extLst>
          </p:cNvPr>
          <p:cNvGrpSpPr/>
          <p:nvPr/>
        </p:nvGrpSpPr>
        <p:grpSpPr>
          <a:xfrm>
            <a:off x="3906649" y="2751983"/>
            <a:ext cx="1553603" cy="1035735"/>
            <a:chOff x="4051113" y="2212978"/>
            <a:chExt cx="1554562" cy="1036375"/>
          </a:xfrm>
        </p:grpSpPr>
        <p:graphicFrame>
          <p:nvGraphicFramePr>
            <p:cNvPr id="43" name="Chart 42">
              <a:extLst>
                <a:ext uri="{FF2B5EF4-FFF2-40B4-BE49-F238E27FC236}">
                  <a16:creationId xmlns:a16="http://schemas.microsoft.com/office/drawing/2014/main" id="{48AA01CD-0E88-B730-1081-D5CD6AD2F986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095543413"/>
                </p:ext>
              </p:extLst>
            </p:nvPr>
          </p:nvGraphicFramePr>
          <p:xfrm>
            <a:off x="4051113" y="2212978"/>
            <a:ext cx="1554562" cy="103637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8"/>
            </a:graphicData>
          </a:graphic>
        </p:graphicFrame>
        <p:pic>
          <p:nvPicPr>
            <p:cNvPr id="44" name="Graphic 43">
              <a:extLst>
                <a:ext uri="{FF2B5EF4-FFF2-40B4-BE49-F238E27FC236}">
                  <a16:creationId xmlns:a16="http://schemas.microsoft.com/office/drawing/2014/main" id="{4AAD5FFF-3071-BFE0-F588-6DAB6A030594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rcRect/>
            <a:stretch/>
          </p:blipFill>
          <p:spPr>
            <a:xfrm>
              <a:off x="4866601" y="2537522"/>
              <a:ext cx="242404" cy="242404"/>
            </a:xfrm>
            <a:prstGeom prst="rect">
              <a:avLst/>
            </a:prstGeom>
          </p:spPr>
        </p:pic>
        <p:pic>
          <p:nvPicPr>
            <p:cNvPr id="45" name="Graphic 44">
              <a:extLst>
                <a:ext uri="{FF2B5EF4-FFF2-40B4-BE49-F238E27FC236}">
                  <a16:creationId xmlns:a16="http://schemas.microsoft.com/office/drawing/2014/main" id="{2E2C86D7-BE07-B49D-5D25-67333EA02C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rcRect/>
            <a:stretch/>
          </p:blipFill>
          <p:spPr>
            <a:xfrm>
              <a:off x="4560761" y="2648147"/>
              <a:ext cx="242405" cy="242405"/>
            </a:xfrm>
            <a:prstGeom prst="rect">
              <a:avLst/>
            </a:prstGeom>
          </p:spPr>
        </p:pic>
      </p:grpSp>
      <p:pic>
        <p:nvPicPr>
          <p:cNvPr id="46" name="Graphic 45">
            <a:extLst>
              <a:ext uri="{FF2B5EF4-FFF2-40B4-BE49-F238E27FC236}">
                <a16:creationId xmlns:a16="http://schemas.microsoft.com/office/drawing/2014/main" id="{512CC6E4-22B2-A5A1-AE48-AA26E9754B52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rcRect/>
          <a:stretch/>
        </p:blipFill>
        <p:spPr>
          <a:xfrm>
            <a:off x="3855708" y="2276043"/>
            <a:ext cx="391886" cy="39188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6FF43AC5-D482-E121-D842-998B5A347D65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rcRect/>
          <a:stretch/>
        </p:blipFill>
        <p:spPr>
          <a:xfrm>
            <a:off x="3875558" y="3093757"/>
            <a:ext cx="352185" cy="352185"/>
          </a:xfrm>
          <a:prstGeom prst="rect">
            <a:avLst/>
          </a:prstGeom>
        </p:spPr>
      </p:pic>
      <p:sp>
        <p:nvSpPr>
          <p:cNvPr id="48" name="Rechteck 4">
            <a:extLst>
              <a:ext uri="{FF2B5EF4-FFF2-40B4-BE49-F238E27FC236}">
                <a16:creationId xmlns:a16="http://schemas.microsoft.com/office/drawing/2014/main" id="{C06A55BB-AE2F-0D50-48B5-86CD5798D8D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909384" y="5473656"/>
            <a:ext cx="8773717" cy="415123"/>
          </a:xfrm>
          <a:prstGeom prst="rect">
            <a:avLst/>
          </a:prstGeom>
          <a:solidFill>
            <a:schemeClr val="accent1"/>
          </a:solidFill>
          <a:ln w="9525" cmpd="sng">
            <a:solidFill>
              <a:srgbClr val="616161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95953" rIns="0" bIns="95953" anchor="b" anchorCtr="0">
            <a:spAutoFit/>
          </a:bodyPr>
          <a:lstStyle/>
          <a:p>
            <a:pPr algn="ctr" defTabSz="609205">
              <a:lnSpc>
                <a:spcPct val="90000"/>
              </a:lnSpc>
              <a:spcBef>
                <a:spcPts val="480"/>
              </a:spcBef>
              <a:buClr>
                <a:srgbClr val="009D6D"/>
              </a:buClr>
              <a:buSzPct val="100000"/>
            </a:pPr>
            <a:r>
              <a:rPr lang="en-US" sz="1598" b="1" dirty="0">
                <a:latin typeface="Trebuchet MS" panose="020B0603020202020204" pitchFamily="34" charset="0"/>
              </a:rPr>
              <a:t>Who selects these criteria? Who defines what sensitive groups are?</a:t>
            </a:r>
          </a:p>
        </p:txBody>
      </p:sp>
    </p:spTree>
    <p:extLst>
      <p:ext uri="{BB962C8B-B14F-4D97-AF65-F5344CB8AC3E}">
        <p14:creationId xmlns:p14="http://schemas.microsoft.com/office/powerpoint/2010/main" val="37635284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8373C1-D54D-8798-29CB-A757AF4F8B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ow to </a:t>
            </a:r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started</a:t>
            </a:r>
            <a:r>
              <a:rPr lang="de-DE" dirty="0"/>
              <a:t> with </a:t>
            </a:r>
            <a:r>
              <a:rPr lang="de-DE" dirty="0" err="1"/>
              <a:t>fairness</a:t>
            </a:r>
            <a:r>
              <a:rPr lang="de-DE" dirty="0"/>
              <a:t> in AI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D928B8-928B-5126-3616-4E00FBCE3A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3A777-FC28-45C3-BBC4-60EF6AB8C3D4}" type="datetime1">
              <a:rPr lang="de-DE" smtClean="0"/>
              <a:t>14.02.2024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E856F4-B79E-6D60-B3B9-2DB9FAA896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AED2E6A-3EC8-7CC3-55A1-69B915745BBD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b="1" dirty="0">
                <a:solidFill>
                  <a:schemeClr val="tx1"/>
                </a:solidFill>
              </a:rPr>
              <a:t>Popular </a:t>
            </a:r>
            <a:r>
              <a:rPr lang="de-DE" sz="1600" b="1" dirty="0" err="1">
                <a:solidFill>
                  <a:schemeClr val="tx1"/>
                </a:solidFill>
              </a:rPr>
              <a:t>literature</a:t>
            </a:r>
            <a:r>
              <a:rPr lang="de-DE" sz="1600" b="1" dirty="0">
                <a:solidFill>
                  <a:schemeClr val="tx1"/>
                </a:solidFill>
              </a:rPr>
              <a:t> &amp; </a:t>
            </a:r>
            <a:r>
              <a:rPr lang="de-DE" sz="1600" b="1" dirty="0" err="1">
                <a:solidFill>
                  <a:schemeClr val="tx1"/>
                </a:solidFill>
              </a:rPr>
              <a:t>movies</a:t>
            </a:r>
            <a:endParaRPr lang="de-DE" sz="1600" b="1" dirty="0">
              <a:solidFill>
                <a:schemeClr val="tx1"/>
              </a:solidFill>
            </a:endParaRPr>
          </a:p>
          <a:p>
            <a:r>
              <a:rPr lang="de-DE" sz="1600" dirty="0">
                <a:solidFill>
                  <a:schemeClr val="tx1"/>
                </a:solidFill>
              </a:rPr>
              <a:t>Cathy O’Neil. </a:t>
            </a:r>
            <a:r>
              <a:rPr lang="de-DE" sz="1600" i="1" dirty="0" err="1">
                <a:solidFill>
                  <a:schemeClr val="tx1"/>
                </a:solidFill>
              </a:rPr>
              <a:t>Weapons</a:t>
            </a:r>
            <a:r>
              <a:rPr lang="de-DE" sz="1600" i="1" dirty="0">
                <a:solidFill>
                  <a:schemeClr val="tx1"/>
                </a:solidFill>
              </a:rPr>
              <a:t> </a:t>
            </a:r>
            <a:r>
              <a:rPr lang="de-DE" sz="1600" i="1" dirty="0" err="1">
                <a:solidFill>
                  <a:schemeClr val="tx1"/>
                </a:solidFill>
              </a:rPr>
              <a:t>of</a:t>
            </a:r>
            <a:r>
              <a:rPr lang="de-DE" sz="1600" i="1" dirty="0">
                <a:solidFill>
                  <a:schemeClr val="tx1"/>
                </a:solidFill>
              </a:rPr>
              <a:t> Math </a:t>
            </a:r>
            <a:r>
              <a:rPr lang="de-DE" sz="1600" i="1" dirty="0" err="1">
                <a:solidFill>
                  <a:schemeClr val="tx1"/>
                </a:solidFill>
              </a:rPr>
              <a:t>Destruction</a:t>
            </a:r>
            <a:r>
              <a:rPr lang="de-DE" sz="1600" dirty="0">
                <a:solidFill>
                  <a:schemeClr val="tx1"/>
                </a:solidFill>
              </a:rPr>
              <a:t>​</a:t>
            </a:r>
          </a:p>
          <a:p>
            <a:r>
              <a:rPr lang="de-DE" sz="1600" dirty="0" err="1">
                <a:solidFill>
                  <a:schemeClr val="tx1"/>
                </a:solidFill>
              </a:rPr>
              <a:t>Shalini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 err="1">
                <a:solidFill>
                  <a:schemeClr val="tx1"/>
                </a:solidFill>
              </a:rPr>
              <a:t>Kantayya</a:t>
            </a:r>
            <a:r>
              <a:rPr lang="de-DE" sz="1600" dirty="0">
                <a:solidFill>
                  <a:schemeClr val="tx1"/>
                </a:solidFill>
              </a:rPr>
              <a:t>. </a:t>
            </a:r>
            <a:r>
              <a:rPr lang="de-DE" sz="1600" i="1" dirty="0" err="1">
                <a:solidFill>
                  <a:schemeClr val="tx1"/>
                </a:solidFill>
              </a:rPr>
              <a:t>Coded</a:t>
            </a:r>
            <a:r>
              <a:rPr lang="de-DE" sz="1600" i="1" dirty="0">
                <a:solidFill>
                  <a:schemeClr val="tx1"/>
                </a:solidFill>
              </a:rPr>
              <a:t> Bias </a:t>
            </a:r>
            <a:r>
              <a:rPr lang="de-DE" sz="1600" dirty="0">
                <a:solidFill>
                  <a:schemeClr val="tx1"/>
                </a:solidFill>
              </a:rPr>
              <a:t>(</a:t>
            </a:r>
            <a:r>
              <a:rPr lang="de-DE" sz="1600" dirty="0" err="1">
                <a:solidFill>
                  <a:schemeClr val="tx1"/>
                </a:solidFill>
              </a:rPr>
              <a:t>available</a:t>
            </a:r>
            <a:r>
              <a:rPr lang="de-DE" sz="1600" dirty="0">
                <a:solidFill>
                  <a:schemeClr val="tx1"/>
                </a:solidFill>
              </a:rPr>
              <a:t> on Netflix)</a:t>
            </a:r>
          </a:p>
          <a:p>
            <a:pPr marL="0" indent="0">
              <a:buNone/>
            </a:pPr>
            <a:endParaRPr lang="de-DE" sz="16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de-DE" sz="1600" b="1" dirty="0">
                <a:solidFill>
                  <a:schemeClr val="tx1"/>
                </a:solidFill>
              </a:rPr>
              <a:t>Interactive material</a:t>
            </a:r>
          </a:p>
          <a:p>
            <a:r>
              <a:rPr lang="en-US" sz="1600" i="1" dirty="0">
                <a:solidFill>
                  <a:schemeClr val="tx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research.google.com/bigpicture/attacking-discrimination-in-ml/</a:t>
            </a:r>
            <a:endParaRPr lang="en-US" sz="1600" i="1" dirty="0">
              <a:solidFill>
                <a:schemeClr val="tx1"/>
              </a:solidFill>
            </a:endParaRPr>
          </a:p>
          <a:p>
            <a:r>
              <a:rPr lang="en-US" sz="1600" i="1" dirty="0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airlearn.org/</a:t>
            </a:r>
            <a:endParaRPr lang="en-US" sz="1600" i="1" dirty="0">
              <a:solidFill>
                <a:schemeClr val="tx1"/>
              </a:solidFill>
            </a:endParaRPr>
          </a:p>
          <a:p>
            <a:endParaRPr lang="en-US" sz="1600" i="1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1600" b="1" dirty="0">
                <a:solidFill>
                  <a:schemeClr val="tx1"/>
                </a:solidFill>
              </a:rPr>
              <a:t>Academic literature</a:t>
            </a: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600" b="0" i="0" u="none" strike="noStrike" dirty="0" err="1">
                <a:solidFill>
                  <a:schemeClr val="tx1"/>
                </a:solidFill>
                <a:effectLst/>
                <a:latin typeface="Trebuchet MS" panose="020B0603020202020204" pitchFamily="34" charset="0"/>
              </a:rPr>
              <a:t>Dwork</a:t>
            </a:r>
            <a:r>
              <a:rPr lang="en-US" sz="1600" b="0" i="0" u="none" strike="noStrike" dirty="0">
                <a:solidFill>
                  <a:schemeClr val="tx1"/>
                </a:solidFill>
                <a:effectLst/>
                <a:latin typeface="Trebuchet MS" panose="020B0603020202020204" pitchFamily="34" charset="0"/>
              </a:rPr>
              <a:t>, Cynthia et al. (2012): </a:t>
            </a:r>
            <a:r>
              <a:rPr lang="en-US" sz="1600" b="0" i="1" u="none" strike="noStrike" dirty="0">
                <a:solidFill>
                  <a:schemeClr val="tx1"/>
                </a:solidFill>
                <a:effectLst/>
                <a:latin typeface="Trebuchet MS" panose="020B0603020202020204" pitchFamily="34" charset="0"/>
              </a:rPr>
              <a:t>Fairness through awareness.</a:t>
            </a:r>
            <a:r>
              <a:rPr lang="en-US" sz="1600" b="0" i="0" dirty="0">
                <a:solidFill>
                  <a:schemeClr val="tx1"/>
                </a:solidFill>
                <a:effectLst/>
                <a:latin typeface="Trebuchet MS" panose="020B0603020202020204" pitchFamily="34" charset="0"/>
              </a:rPr>
              <a:t>​</a:t>
            </a:r>
            <a:endParaRPr lang="en-US" sz="1600" b="0" i="0" dirty="0"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600" b="0" i="0" u="none" strike="noStrike" dirty="0" err="1">
                <a:solidFill>
                  <a:schemeClr val="tx1"/>
                </a:solidFill>
                <a:effectLst/>
                <a:latin typeface="Trebuchet MS" panose="020B0603020202020204" pitchFamily="34" charset="0"/>
              </a:rPr>
              <a:t>Barocas</a:t>
            </a:r>
            <a:r>
              <a:rPr lang="en-US" sz="1600" b="0" i="0" u="none" strike="noStrike" dirty="0">
                <a:solidFill>
                  <a:schemeClr val="tx1"/>
                </a:solidFill>
                <a:effectLst/>
                <a:latin typeface="Trebuchet MS" panose="020B0603020202020204" pitchFamily="34" charset="0"/>
              </a:rPr>
              <a:t>, Solon, Moritz Hardt, and Arvind Narayanan (2019): </a:t>
            </a:r>
            <a:r>
              <a:rPr lang="en-US" sz="1600" b="0" i="1" u="none" strike="noStrike" dirty="0">
                <a:solidFill>
                  <a:schemeClr val="tx1"/>
                </a:solidFill>
                <a:effectLst/>
                <a:latin typeface="Trebuchet MS" panose="020B0603020202020204" pitchFamily="34" charset="0"/>
              </a:rPr>
              <a:t>Fairness and machine learning</a:t>
            </a:r>
            <a:r>
              <a:rPr lang="en-US" sz="1600" b="0" i="0" u="none" strike="noStrike" dirty="0">
                <a:solidFill>
                  <a:schemeClr val="tx1"/>
                </a:solidFill>
                <a:effectLst/>
                <a:latin typeface="Trebuchet MS" panose="020B0603020202020204" pitchFamily="34" charset="0"/>
              </a:rPr>
              <a:t>. </a:t>
            </a:r>
            <a:r>
              <a:rPr lang="en-US" sz="1600" b="0" i="1" u="none" strike="noStrike" dirty="0">
                <a:solidFill>
                  <a:schemeClr val="tx1"/>
                </a:solidFill>
                <a:effectLst/>
                <a:latin typeface="Trebuchet MS" panose="020B0603020202020204" pitchFamily="34" charset="0"/>
              </a:rPr>
              <a:t>URL: </a:t>
            </a:r>
            <a:r>
              <a:rPr lang="en-US" sz="1600" b="0" i="1" u="sng" strike="noStrike" dirty="0">
                <a:solidFill>
                  <a:schemeClr val="tx1"/>
                </a:solidFill>
                <a:effectLst/>
                <a:latin typeface="Trebuchet MS" panose="020B0603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www.fairmlbook.org</a:t>
            </a:r>
            <a:r>
              <a:rPr lang="en-US" sz="1600" b="0" i="0" dirty="0">
                <a:solidFill>
                  <a:schemeClr val="tx1"/>
                </a:solidFill>
                <a:effectLst/>
                <a:latin typeface="Trebuchet MS" panose="020B0603020202020204" pitchFamily="34" charset="0"/>
              </a:rPr>
              <a:t>​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  <a:latin typeface="Trebuchet MS" panose="020B0603020202020204" pitchFamily="34" charset="0"/>
              </a:rPr>
              <a:t>Arif Khan, </a:t>
            </a:r>
            <a:r>
              <a:rPr lang="de-DE" sz="1600" dirty="0" err="1">
                <a:solidFill>
                  <a:schemeClr val="tx1"/>
                </a:solidFill>
                <a:latin typeface="Trebuchet MS" panose="020B0603020202020204" pitchFamily="34" charset="0"/>
              </a:rPr>
              <a:t>Falaah</a:t>
            </a:r>
            <a:r>
              <a:rPr lang="de-DE" sz="1600" dirty="0">
                <a:solidFill>
                  <a:schemeClr val="tx1"/>
                </a:solidFill>
                <a:latin typeface="Trebuchet MS" panose="020B0603020202020204" pitchFamily="34" charset="0"/>
              </a:rPr>
              <a:t>, Manis, Eleni, and </a:t>
            </a:r>
            <a:r>
              <a:rPr lang="de-DE" sz="1600" dirty="0" err="1">
                <a:solidFill>
                  <a:schemeClr val="tx1"/>
                </a:solidFill>
                <a:latin typeface="Trebuchet MS" panose="020B0603020202020204" pitchFamily="34" charset="0"/>
              </a:rPr>
              <a:t>Stoyanovich</a:t>
            </a:r>
            <a:r>
              <a:rPr lang="de-DE" sz="1600" dirty="0">
                <a:solidFill>
                  <a:schemeClr val="tx1"/>
                </a:solidFill>
                <a:latin typeface="Trebuchet MS" panose="020B0603020202020204" pitchFamily="34" charset="0"/>
              </a:rPr>
              <a:t>, Julia (2022): </a:t>
            </a:r>
            <a:r>
              <a:rPr lang="de-DE" sz="1600" i="1" dirty="0" err="1">
                <a:solidFill>
                  <a:schemeClr val="tx1"/>
                </a:solidFill>
                <a:latin typeface="Trebuchet MS" panose="020B0603020202020204" pitchFamily="34" charset="0"/>
              </a:rPr>
              <a:t>Towards</a:t>
            </a:r>
            <a:r>
              <a:rPr lang="de-DE" sz="1600" i="1" dirty="0">
                <a:solidFill>
                  <a:schemeClr val="tx1"/>
                </a:solidFill>
                <a:latin typeface="Trebuchet MS" panose="020B0603020202020204" pitchFamily="34" charset="0"/>
              </a:rPr>
              <a:t> Substantive </a:t>
            </a:r>
            <a:r>
              <a:rPr lang="de-DE" sz="1600" i="1" dirty="0" err="1">
                <a:solidFill>
                  <a:schemeClr val="tx1"/>
                </a:solidFill>
                <a:latin typeface="Trebuchet MS" panose="020B0603020202020204" pitchFamily="34" charset="0"/>
              </a:rPr>
              <a:t>Conceptions</a:t>
            </a:r>
            <a:r>
              <a:rPr lang="de-DE" sz="1600" i="1" dirty="0">
                <a:solidFill>
                  <a:schemeClr val="tx1"/>
                </a:solidFill>
                <a:latin typeface="Trebuchet MS" panose="020B0603020202020204" pitchFamily="34" charset="0"/>
              </a:rPr>
              <a:t> </a:t>
            </a:r>
            <a:r>
              <a:rPr lang="de-DE" sz="1600" i="1" dirty="0" err="1">
                <a:solidFill>
                  <a:schemeClr val="tx1"/>
                </a:solidFill>
                <a:latin typeface="Trebuchet MS" panose="020B0603020202020204" pitchFamily="34" charset="0"/>
              </a:rPr>
              <a:t>of</a:t>
            </a:r>
            <a:r>
              <a:rPr lang="de-DE" sz="1600" i="1" dirty="0">
                <a:solidFill>
                  <a:schemeClr val="tx1"/>
                </a:solidFill>
                <a:latin typeface="Trebuchet MS" panose="020B0603020202020204" pitchFamily="34" charset="0"/>
              </a:rPr>
              <a:t> Algorithmic Fairness: Normative </a:t>
            </a:r>
            <a:r>
              <a:rPr lang="de-DE" sz="1600" i="1" dirty="0" err="1">
                <a:solidFill>
                  <a:schemeClr val="tx1"/>
                </a:solidFill>
                <a:latin typeface="Trebuchet MS" panose="020B0603020202020204" pitchFamily="34" charset="0"/>
              </a:rPr>
              <a:t>Guidance</a:t>
            </a:r>
            <a:r>
              <a:rPr lang="de-DE" sz="1600" i="1" dirty="0">
                <a:solidFill>
                  <a:schemeClr val="tx1"/>
                </a:solidFill>
                <a:latin typeface="Trebuchet MS" panose="020B0603020202020204" pitchFamily="34" charset="0"/>
              </a:rPr>
              <a:t> </a:t>
            </a:r>
            <a:r>
              <a:rPr lang="de-DE" sz="1600" i="1" dirty="0" err="1">
                <a:solidFill>
                  <a:schemeClr val="tx1"/>
                </a:solidFill>
                <a:latin typeface="Trebuchet MS" panose="020B0603020202020204" pitchFamily="34" charset="0"/>
              </a:rPr>
              <a:t>from</a:t>
            </a:r>
            <a:r>
              <a:rPr lang="de-DE" sz="1600" i="1" dirty="0">
                <a:solidFill>
                  <a:schemeClr val="tx1"/>
                </a:solidFill>
                <a:latin typeface="Trebuchet MS" panose="020B0603020202020204" pitchFamily="34" charset="0"/>
              </a:rPr>
              <a:t> </a:t>
            </a:r>
            <a:r>
              <a:rPr lang="de-DE" sz="1600" i="1" dirty="0" err="1">
                <a:solidFill>
                  <a:schemeClr val="tx1"/>
                </a:solidFill>
                <a:latin typeface="Trebuchet MS" panose="020B0603020202020204" pitchFamily="34" charset="0"/>
              </a:rPr>
              <a:t>Equal</a:t>
            </a:r>
            <a:r>
              <a:rPr lang="de-DE" sz="1600" i="1" dirty="0">
                <a:solidFill>
                  <a:schemeClr val="tx1"/>
                </a:solidFill>
                <a:latin typeface="Trebuchet MS" panose="020B0603020202020204" pitchFamily="34" charset="0"/>
              </a:rPr>
              <a:t> </a:t>
            </a:r>
            <a:r>
              <a:rPr lang="de-DE" sz="1600" i="1" dirty="0" err="1">
                <a:solidFill>
                  <a:schemeClr val="tx1"/>
                </a:solidFill>
                <a:latin typeface="Trebuchet MS" panose="020B0603020202020204" pitchFamily="34" charset="0"/>
              </a:rPr>
              <a:t>Opportunity</a:t>
            </a:r>
            <a:r>
              <a:rPr lang="de-DE" sz="1600" i="1" dirty="0">
                <a:solidFill>
                  <a:schemeClr val="tx1"/>
                </a:solidFill>
                <a:latin typeface="Trebuchet MS" panose="020B0603020202020204" pitchFamily="34" charset="0"/>
              </a:rPr>
              <a:t> Doctrines</a:t>
            </a:r>
            <a:r>
              <a:rPr lang="de-DE" sz="1600" b="0" i="1" u="none" strike="noStrike" baseline="0" dirty="0">
                <a:solidFill>
                  <a:schemeClr val="tx1"/>
                </a:solidFill>
                <a:latin typeface="Calibri" panose="020F0502020204030204" pitchFamily="34" charset="0"/>
              </a:rPr>
              <a:t>	</a:t>
            </a:r>
          </a:p>
          <a:p>
            <a:pPr algn="l" rtl="0" fontAlgn="base">
              <a:buFont typeface="Arial" panose="020B0604020202020204" pitchFamily="34" charset="0"/>
              <a:buChar char="•"/>
            </a:pPr>
            <a:endParaRPr lang="en-US" sz="1600" b="0" i="0" dirty="0">
              <a:solidFill>
                <a:schemeClr val="tx1"/>
              </a:solidFill>
              <a:effectLst/>
              <a:latin typeface="Trebuchet MS" panose="020B0603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endParaRPr lang="en-US" sz="1600" b="0" i="0" dirty="0"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endParaRPr lang="en-US" sz="1600" i="1" dirty="0">
              <a:solidFill>
                <a:schemeClr val="tx1"/>
              </a:solidFill>
            </a:endParaRPr>
          </a:p>
          <a:p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5FC4413-8940-E46F-F739-73C11CC9BA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>
                <a:solidFill>
                  <a:srgbClr val="8C8C8C"/>
                </a:solidFill>
              </a:rPr>
              <a:t>Forschungsinstitut für Informationsmanagement | Universität Bayreuth | Luca Deck, Valentin Mayer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41942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54|101.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heme/theme1.xml><?xml version="1.0" encoding="utf-8"?>
<a:theme xmlns:a="http://schemas.openxmlformats.org/drawingml/2006/main" name="Universität Hohenheim">
  <a:themeElements>
    <a:clrScheme name="UHOH">
      <a:dk1>
        <a:srgbClr val="000000"/>
      </a:dk1>
      <a:lt1>
        <a:srgbClr val="FFFFFF"/>
      </a:lt1>
      <a:dk2>
        <a:srgbClr val="004080"/>
      </a:dk2>
      <a:lt2>
        <a:srgbClr val="D9D9D9"/>
      </a:lt2>
      <a:accent1>
        <a:srgbClr val="FFF0C8"/>
      </a:accent1>
      <a:accent2>
        <a:srgbClr val="2694FE"/>
      </a:accent2>
      <a:accent3>
        <a:srgbClr val="889194"/>
      </a:accent3>
      <a:accent4>
        <a:srgbClr val="D2E9FF"/>
      </a:accent4>
      <a:accent5>
        <a:srgbClr val="179C7D"/>
      </a:accent5>
      <a:accent6>
        <a:srgbClr val="B10034"/>
      </a:accent6>
      <a:hlink>
        <a:srgbClr val="004080"/>
      </a:hlink>
      <a:folHlink>
        <a:srgbClr val="2694FE"/>
      </a:folHlink>
    </a:clrScheme>
    <a:fontScheme name="fim/fi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marL="285750" indent="-285750" algn="l">
          <a:buFont typeface="Wingdings" panose="05000000000000000000" pitchFamily="2" charset="2"/>
          <a:buChar char="§"/>
          <a:defRPr sz="1400" dirty="0" err="1" smtClean="0">
            <a:solidFill>
              <a:srgbClr val="4B4B4B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olienmaster_16x9_DE.potx" id="{397CB93F-CD6F-44E9-A982-38B5EBB5B552}" vid="{58422DA1-C179-41B8-9398-577C7904E05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9D40E3B217D0349A9B90888B1661080" ma:contentTypeVersion="18" ma:contentTypeDescription="Ein neues Dokument erstellen." ma:contentTypeScope="" ma:versionID="764b1ad873ccb0f0714832b930aadbaa">
  <xsd:schema xmlns:xsd="http://www.w3.org/2001/XMLSchema" xmlns:xs="http://www.w3.org/2001/XMLSchema" xmlns:p="http://schemas.microsoft.com/office/2006/metadata/properties" xmlns:ns2="82939fe7-fed6-4672-80ba-cc90af4b9bed" xmlns:ns3="faa56796-c7b2-4d3e-b63e-71a1b6748a23" targetNamespace="http://schemas.microsoft.com/office/2006/metadata/properties" ma:root="true" ma:fieldsID="c72cd9002f60bcb8de5f339466d89e5c" ns2:_="" ns3:_="">
    <xsd:import namespace="82939fe7-fed6-4672-80ba-cc90af4b9bed"/>
    <xsd:import namespace="faa56796-c7b2-4d3e-b63e-71a1b6748a2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939fe7-fed6-4672-80ba-cc90af4b9be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9e00f353-0966-4817-9458-30baef77fa7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5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a56796-c7b2-4d3e-b63e-71a1b6748a23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fa49ca97-bd99-439f-af16-6493a29938e0}" ma:internalName="TaxCatchAll" ma:showField="CatchAllData" ma:web="faa56796-c7b2-4d3e-b63e-71a1b6748a2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aa56796-c7b2-4d3e-b63e-71a1b6748a23" xsi:nil="true"/>
    <lcf76f155ced4ddcb4097134ff3c332f xmlns="82939fe7-fed6-4672-80ba-cc90af4b9bed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9D6DAB75-6D41-41F3-8CB1-BF6BFB247B6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2939fe7-fed6-4672-80ba-cc90af4b9bed"/>
    <ds:schemaRef ds:uri="faa56796-c7b2-4d3e-b63e-71a1b6748a2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AA1AC1C-FEE9-46FF-97E3-2D980C6A013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1BA62DE-A85D-42F2-9269-7C5BB32494CB}">
  <ds:schemaRefs>
    <ds:schemaRef ds:uri="82939fe7-fed6-4672-80ba-cc90af4b9bed"/>
    <ds:schemaRef ds:uri="faa56796-c7b2-4d3e-b63e-71a1b6748a2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IM_Folienmaster_16x9_DE</Template>
  <TotalTime>0</TotalTime>
  <Words>477</Words>
  <Application>Microsoft Office PowerPoint</Application>
  <PresentationFormat>Widescreen</PresentationFormat>
  <Paragraphs>68</Paragraphs>
  <Slides>5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Courier New</vt:lpstr>
      <vt:lpstr>Trebuchet MS</vt:lpstr>
      <vt:lpstr>Wingdings</vt:lpstr>
      <vt:lpstr>Universität Hohenheim</vt:lpstr>
      <vt:lpstr>FairDice: An interactive lecture hall experiment to showcase the nuances of fairness</vt:lpstr>
      <vt:lpstr>All the discussed fairness notions can be found in real applications. And algorithms can implement them.</vt:lpstr>
      <vt:lpstr>ML recognizes and reproduces learned patterns… …but what if we do not approve of these patterns?</vt:lpstr>
      <vt:lpstr>There are many formalized fairness metrics to tackle  undesirable outcomes: e.g., statistical parity and equal opportunity</vt:lpstr>
      <vt:lpstr>How to get started with fairness in AI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eyer-Hollatz, Tim</dc:creator>
  <cp:keywords/>
  <cp:lastModifiedBy>Deck, Luca</cp:lastModifiedBy>
  <cp:revision>17</cp:revision>
  <dcterms:created xsi:type="dcterms:W3CDTF">2022-03-24T08:32:59Z</dcterms:created>
  <dcterms:modified xsi:type="dcterms:W3CDTF">2024-02-14T10:39:3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D40E3B217D0349A9B90888B1661080</vt:lpwstr>
  </property>
  <property fmtid="{D5CDD505-2E9C-101B-9397-08002B2CF9AE}" pid="3" name="MediaServiceImageTags">
    <vt:lpwstr/>
  </property>
</Properties>
</file>